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media/image13.jpg" ContentType="image/jpeg"/>
  <Override PartName="/ppt/media/image14.JPG" ContentType="image/jpeg"/>
  <Override PartName="/ppt/media/image15.jpg" ContentType="image/jpe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5" r:id="rId5"/>
    <p:sldMasterId id="2147483691" r:id="rId6"/>
    <p:sldMasterId id="2147483728" r:id="rId7"/>
    <p:sldMasterId id="2147483734" r:id="rId8"/>
    <p:sldMasterId id="2147483740" r:id="rId9"/>
    <p:sldMasterId id="2147483742" r:id="rId10"/>
  </p:sldMasterIdLst>
  <p:notesMasterIdLst>
    <p:notesMasterId r:id="rId67"/>
  </p:notesMasterIdLst>
  <p:sldIdLst>
    <p:sldId id="256" r:id="rId11"/>
    <p:sldId id="3341" r:id="rId12"/>
    <p:sldId id="3342" r:id="rId13"/>
    <p:sldId id="258"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1" r:id="rId27"/>
    <p:sldId id="272" r:id="rId28"/>
    <p:sldId id="273" r:id="rId29"/>
    <p:sldId id="274" r:id="rId30"/>
    <p:sldId id="275" r:id="rId31"/>
    <p:sldId id="276" r:id="rId32"/>
    <p:sldId id="277" r:id="rId33"/>
    <p:sldId id="278" r:id="rId34"/>
    <p:sldId id="279" r:id="rId35"/>
    <p:sldId id="280" r:id="rId36"/>
    <p:sldId id="3353" r:id="rId37"/>
    <p:sldId id="257" r:id="rId38"/>
    <p:sldId id="3354" r:id="rId39"/>
    <p:sldId id="3355" r:id="rId40"/>
    <p:sldId id="3356" r:id="rId41"/>
    <p:sldId id="3357" r:id="rId42"/>
    <p:sldId id="3358" r:id="rId43"/>
    <p:sldId id="3359" r:id="rId44"/>
    <p:sldId id="3360" r:id="rId45"/>
    <p:sldId id="3361" r:id="rId46"/>
    <p:sldId id="3362" r:id="rId47"/>
    <p:sldId id="3363" r:id="rId48"/>
    <p:sldId id="3364" r:id="rId49"/>
    <p:sldId id="3365" r:id="rId50"/>
    <p:sldId id="3366" r:id="rId51"/>
    <p:sldId id="3367" r:id="rId52"/>
    <p:sldId id="3368" r:id="rId53"/>
    <p:sldId id="3369" r:id="rId54"/>
    <p:sldId id="3370" r:id="rId55"/>
    <p:sldId id="3371" r:id="rId56"/>
    <p:sldId id="3372" r:id="rId57"/>
    <p:sldId id="3373" r:id="rId58"/>
    <p:sldId id="3374" r:id="rId59"/>
    <p:sldId id="3375" r:id="rId60"/>
    <p:sldId id="3376" r:id="rId61"/>
    <p:sldId id="3347" r:id="rId62"/>
    <p:sldId id="3337" r:id="rId63"/>
    <p:sldId id="3348" r:id="rId64"/>
    <p:sldId id="3349" r:id="rId65"/>
    <p:sldId id="3344" r:id="rId66"/>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C3A0DE-E6C8-1CA4-3C3D-B70232D97500}" name="Walt, Galya" initials="WG" userId="S::galyawalt@hsph.harvard.edu::5013d20c-7c87-478b-9f74-f3e99c55db5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1FF56A-F2DB-4A43-9CCB-F84CB3745331}" v="3" dt="2024-04-01T14:37:39.6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828" autoAdjust="0"/>
    <p:restoredTop sz="67263"/>
  </p:normalViewPr>
  <p:slideViewPr>
    <p:cSldViewPr snapToGrid="0" snapToObjects="1">
      <p:cViewPr varScale="1">
        <p:scale>
          <a:sx n="71" d="100"/>
          <a:sy n="71" d="100"/>
        </p:scale>
        <p:origin x="1230" y="60"/>
      </p:cViewPr>
      <p:guideLst>
        <p:guide orient="horz" pos="2160"/>
        <p:guide pos="3840"/>
      </p:guideLst>
    </p:cSldViewPr>
  </p:slideViewPr>
  <p:notesTextViewPr>
    <p:cViewPr>
      <p:scale>
        <a:sx n="100" d="100"/>
        <a:sy n="100" d="100"/>
      </p:scale>
      <p:origin x="0" y="0"/>
    </p:cViewPr>
  </p:notesTextViewPr>
  <p:sorterViewPr>
    <p:cViewPr>
      <p:scale>
        <a:sx n="80" d="100"/>
        <a:sy n="80" d="100"/>
      </p:scale>
      <p:origin x="0" y="-1325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 Type="http://schemas.openxmlformats.org/officeDocument/2006/relationships/slideMaster" Target="slideMasters/slideMaster4.xml"/><Relationship Id="rId7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4/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illinoisvalleybirthcenter.com/"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www.chicagosouthsidebirthcenter.org/"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a:t>
            </a:fld>
            <a:endParaRPr lang="en-US"/>
          </a:p>
        </p:txBody>
      </p:sp>
    </p:spTree>
    <p:extLst>
      <p:ext uri="{BB962C8B-B14F-4D97-AF65-F5344CB8AC3E}">
        <p14:creationId xmlns:p14="http://schemas.microsoft.com/office/powerpoint/2010/main" val="27947010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g26bd6778df0_0_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0" name="Google Shape;170;g26bd6778df0_0_2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p6: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8" name="Google Shape;178;p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7: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5" name="Google Shape;185;p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2c3ae3632cd_0_26: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1" name="Google Shape;191;g2c3ae3632cd_0_2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26c7498c8a8_0_1: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1" name="Google Shape;201;g26c7498c8a8_0_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24fa8fb52e1e89f3_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1" name="Google Shape;211;g24fa8fb52e1e89f3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
        <p:cNvGrpSpPr/>
        <p:nvPr/>
      </p:nvGrpSpPr>
      <p:grpSpPr>
        <a:xfrm>
          <a:off x="0" y="0"/>
          <a:ext cx="0" cy="0"/>
          <a:chOff x="0" y="0"/>
          <a:chExt cx="0" cy="0"/>
        </a:xfrm>
      </p:grpSpPr>
      <p:sp>
        <p:nvSpPr>
          <p:cNvPr id="218" name="Google Shape;218;g2c49504ef83_0_14: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9" name="Google Shape;219;g2c49504ef83_0_1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g2c3ae3632cd_0_34: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g2c3ae3632cd_0_3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g24fa8fb52e1e89f3_8: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0" name="Google Shape;230;g24fa8fb52e1e89f3_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g2c3ae3632cd_0_7: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0" name="Google Shape;240;g2c3ae3632cd_0_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p1: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4" name="Google Shape;114;p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c3ae3632cd_0_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lnSpc>
                <a:spcPct val="115000"/>
              </a:lnSpc>
              <a:spcBef>
                <a:spcPts val="1000"/>
              </a:spcBef>
              <a:spcAft>
                <a:spcPts val="0"/>
              </a:spcAft>
              <a:buNone/>
            </a:pPr>
            <a:endParaRPr sz="1100">
              <a:solidFill>
                <a:srgbClr val="222222"/>
              </a:solidFill>
              <a:highlight>
                <a:srgbClr val="FFFFFF"/>
              </a:highlight>
            </a:endParaRPr>
          </a:p>
          <a:p>
            <a:pPr marL="457200" lvl="0" indent="0" algn="l" rtl="0">
              <a:lnSpc>
                <a:spcPct val="115000"/>
              </a:lnSpc>
              <a:spcBef>
                <a:spcPts val="1000"/>
              </a:spcBef>
              <a:spcAft>
                <a:spcPts val="0"/>
              </a:spcAft>
              <a:buNone/>
            </a:pPr>
            <a:endParaRPr sz="1100">
              <a:solidFill>
                <a:srgbClr val="222222"/>
              </a:solidFill>
              <a:highlight>
                <a:srgbClr val="FFFFFF"/>
              </a:highlight>
            </a:endParaRPr>
          </a:p>
          <a:p>
            <a:pPr marL="596900" lvl="0" indent="-298450" algn="l" rtl="0">
              <a:lnSpc>
                <a:spcPct val="115000"/>
              </a:lnSpc>
              <a:spcBef>
                <a:spcPts val="1000"/>
              </a:spcBef>
              <a:spcAft>
                <a:spcPts val="0"/>
              </a:spcAft>
              <a:buClr>
                <a:srgbClr val="222222"/>
              </a:buClr>
              <a:buSzPts val="1100"/>
              <a:buChar char="●"/>
            </a:pPr>
            <a:r>
              <a:rPr lang="en-US" sz="1100" u="sng">
                <a:solidFill>
                  <a:srgbClr val="1155CC"/>
                </a:solidFill>
                <a:highlight>
                  <a:srgbClr val="FFFFFF"/>
                </a:highlight>
                <a:hlinkClick r:id="rId3">
                  <a:extLst>
                    <a:ext uri="{A12FA001-AC4F-418D-AE19-62706E023703}">
                      <ahyp:hlinkClr xmlns:ahyp="http://schemas.microsoft.com/office/drawing/2018/hyperlinkcolor" val="tx"/>
                    </a:ext>
                  </a:extLst>
                </a:hlinkClick>
              </a:rPr>
              <a:t>Illinois Valley Birth Center</a:t>
            </a:r>
            <a:r>
              <a:rPr lang="en-US" sz="1100">
                <a:solidFill>
                  <a:srgbClr val="222222"/>
                </a:solidFill>
                <a:highlight>
                  <a:srgbClr val="FFFFFF"/>
                </a:highlight>
              </a:rPr>
              <a:t> (Ottawa, IL)</a:t>
            </a:r>
            <a:endParaRPr sz="1100">
              <a:solidFill>
                <a:srgbClr val="222222"/>
              </a:solidFill>
              <a:highlight>
                <a:srgbClr val="FFFFFF"/>
              </a:highlight>
            </a:endParaRPr>
          </a:p>
          <a:p>
            <a:pPr marL="596900" lvl="0" indent="-298450" algn="l" rtl="0">
              <a:lnSpc>
                <a:spcPct val="115000"/>
              </a:lnSpc>
              <a:spcBef>
                <a:spcPts val="0"/>
              </a:spcBef>
              <a:spcAft>
                <a:spcPts val="0"/>
              </a:spcAft>
              <a:buClr>
                <a:srgbClr val="222222"/>
              </a:buClr>
              <a:buSzPts val="1100"/>
              <a:buChar char="●"/>
            </a:pPr>
            <a:r>
              <a:rPr lang="en-US" sz="1100" u="sng">
                <a:solidFill>
                  <a:srgbClr val="1155CC"/>
                </a:solidFill>
                <a:highlight>
                  <a:srgbClr val="FFFFFF"/>
                </a:highlight>
                <a:hlinkClick r:id="rId4">
                  <a:extLst>
                    <a:ext uri="{A12FA001-AC4F-418D-AE19-62706E023703}">
                      <ahyp:hlinkClr xmlns:ahyp="http://schemas.microsoft.com/office/drawing/2018/hyperlinkcolor" val="tx"/>
                    </a:ext>
                  </a:extLst>
                </a:hlinkClick>
              </a:rPr>
              <a:t>Chicago Southside Birth Center</a:t>
            </a:r>
            <a:endParaRPr sz="1100" u="sng">
              <a:solidFill>
                <a:srgbClr val="1155CC"/>
              </a:solidFill>
              <a:highlight>
                <a:srgbClr val="FFFFFF"/>
              </a:highlight>
            </a:endParaRPr>
          </a:p>
          <a:p>
            <a:pPr marL="0" lvl="0" indent="0" algn="l" rtl="0">
              <a:spcBef>
                <a:spcPts val="1000"/>
              </a:spcBef>
              <a:spcAft>
                <a:spcPts val="0"/>
              </a:spcAft>
              <a:buNone/>
            </a:pPr>
            <a:endParaRPr/>
          </a:p>
        </p:txBody>
      </p:sp>
      <p:sp>
        <p:nvSpPr>
          <p:cNvPr id="246" name="Google Shape;246;g2c3ae3632cd_0_2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
        <p:cNvGrpSpPr/>
        <p:nvPr/>
      </p:nvGrpSpPr>
      <p:grpSpPr>
        <a:xfrm>
          <a:off x="0" y="0"/>
          <a:ext cx="0" cy="0"/>
          <a:chOff x="0" y="0"/>
          <a:chExt cx="0" cy="0"/>
        </a:xfrm>
      </p:grpSpPr>
      <p:sp>
        <p:nvSpPr>
          <p:cNvPr id="251" name="Google Shape;251;p19: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2" name="Google Shape;252;p1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g26c7498c8a8_0_1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9" name="Google Shape;259;g26c7498c8a8_0_1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p17: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5" name="Google Shape;265;p1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1" name="Google Shape;271;p2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4</a:t>
            </a:fld>
            <a:endParaRPr lang="en-US"/>
          </a:p>
        </p:txBody>
      </p:sp>
    </p:spTree>
    <p:extLst>
      <p:ext uri="{BB962C8B-B14F-4D97-AF65-F5344CB8AC3E}">
        <p14:creationId xmlns:p14="http://schemas.microsoft.com/office/powerpoint/2010/main" val="2161323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p3: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2" name="Google Shape;122;p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26bd6778df0_0_11: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8" name="Google Shape;128;g26bd6778df0_0_1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g26bd381e537_0_1: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4" name="Google Shape;134;g26bd381e537_0_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g2c3ae3632cd_0_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0" name="Google Shape;140;g2c3ae3632cd_0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p4: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6" name="Google Shape;146;p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g2c3ae3632cd_0_13: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4" name="Google Shape;154;g2c3ae3632cd_0_1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2: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2" name="Google Shape;162;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6" name="Picture 5" descr="Logo&#10;&#10;Description automatically generated">
            <a:extLst>
              <a:ext uri="{FF2B5EF4-FFF2-40B4-BE49-F238E27FC236}">
                <a16:creationId xmlns:a16="http://schemas.microsoft.com/office/drawing/2014/main" id="{F8A0C15E-43F4-1246-5B6C-F7F5F48D0260}"/>
              </a:ext>
            </a:extLst>
          </p:cNvPr>
          <p:cNvPicPr>
            <a:picLocks noChangeAspect="1"/>
          </p:cNvPicPr>
          <p:nvPr userDrawn="1"/>
        </p:nvPicPr>
        <p:blipFill>
          <a:blip r:embed="rId2"/>
          <a:stretch>
            <a:fillRect/>
          </a:stretch>
        </p:blipFill>
        <p:spPr>
          <a:xfrm>
            <a:off x="9978189" y="5862153"/>
            <a:ext cx="1696039" cy="815302"/>
          </a:xfrm>
          <a:prstGeom prst="rect">
            <a:avLst/>
          </a:prstGeom>
        </p:spPr>
      </p:pic>
      <p:pic>
        <p:nvPicPr>
          <p:cNvPr id="9" name="Graphic 8">
            <a:extLst>
              <a:ext uri="{FF2B5EF4-FFF2-40B4-BE49-F238E27FC236}">
                <a16:creationId xmlns:a16="http://schemas.microsoft.com/office/drawing/2014/main" id="{6DD9750F-EB27-682A-CA62-DE092999485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0179" y="488286"/>
            <a:ext cx="4319337" cy="534624"/>
          </a:xfrm>
          <a:prstGeom prst="rect">
            <a:avLst/>
          </a:prstGeom>
        </p:spPr>
      </p:pic>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5EF6153-D12E-6F4B-2DEF-D55AB36342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41662" y="5903564"/>
            <a:ext cx="5560957" cy="688305"/>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4" name="Holder 4"/>
          <p:cNvSpPr>
            <a:spLocks noGrp="1"/>
          </p:cNvSpPr>
          <p:nvPr>
            <p:ph type="sldNum" sz="quarter" idx="7"/>
          </p:nvPr>
        </p:nvSpPr>
        <p:spPr/>
        <p:txBody>
          <a:bodyPr lIns="0" tIns="0" rIns="0" bIns="0"/>
          <a:lstStyle>
            <a:lvl1pPr>
              <a:defRPr sz="1100" b="0" i="0">
                <a:solidFill>
                  <a:schemeClr val="tx1"/>
                </a:solidFill>
                <a:latin typeface="Palatino Linotype"/>
                <a:cs typeface="Palatino Linotype"/>
              </a:defRPr>
            </a:lvl1pPr>
          </a:lstStyle>
          <a:p>
            <a:pPr marL="38100">
              <a:lnSpc>
                <a:spcPts val="1125"/>
              </a:lnSpc>
            </a:pPr>
            <a:fld id="{81D60167-4931-47E6-BA6A-407CBD079E47}" type="slidenum">
              <a:rPr spc="-5" dirty="0"/>
              <a:t>‹#›</a:t>
            </a:fld>
            <a:endParaRPr spc="-5" dirty="0"/>
          </a:p>
        </p:txBody>
      </p:sp>
    </p:spTree>
    <p:extLst>
      <p:ext uri="{BB962C8B-B14F-4D97-AF65-F5344CB8AC3E}">
        <p14:creationId xmlns:p14="http://schemas.microsoft.com/office/powerpoint/2010/main" val="5819510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p:txBody>
          <a:bodyPr lIns="0" tIns="0" rIns="0" bIns="0"/>
          <a:lstStyle>
            <a:lvl1pPr>
              <a:defRPr sz="1100" b="0" i="0">
                <a:solidFill>
                  <a:schemeClr val="tx1"/>
                </a:solidFill>
                <a:latin typeface="Palatino Linotype"/>
                <a:cs typeface="Palatino Linotype"/>
              </a:defRPr>
            </a:lvl1pPr>
          </a:lstStyle>
          <a:p>
            <a:pPr marL="38100">
              <a:lnSpc>
                <a:spcPts val="1125"/>
              </a:lnSpc>
            </a:pPr>
            <a:fld id="{81D60167-4931-47E6-BA6A-407CBD079E47}" type="slidenum">
              <a:rPr spc="-5" dirty="0"/>
              <a:t>‹#›</a:t>
            </a:fld>
            <a:endParaRPr spc="-5" dirty="0"/>
          </a:p>
        </p:txBody>
      </p:sp>
    </p:spTree>
    <p:extLst>
      <p:ext uri="{BB962C8B-B14F-4D97-AF65-F5344CB8AC3E}">
        <p14:creationId xmlns:p14="http://schemas.microsoft.com/office/powerpoint/2010/main" val="1092005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1" i="0">
                <a:solidFill>
                  <a:srgbClr val="232852"/>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sz="2400" b="0" i="0">
                <a:solidFill>
                  <a:schemeClr val="tx1"/>
                </a:solidFill>
                <a:latin typeface="Palatino Linotype"/>
                <a:cs typeface="Palatino Linotyp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p:txBody>
          <a:bodyPr lIns="0" tIns="0" rIns="0" bIns="0"/>
          <a:lstStyle>
            <a:lvl1pPr>
              <a:defRPr sz="1100" b="0" i="0">
                <a:solidFill>
                  <a:schemeClr val="tx1"/>
                </a:solidFill>
                <a:latin typeface="Palatino Linotype"/>
                <a:cs typeface="Palatino Linotype"/>
              </a:defRPr>
            </a:lvl1pPr>
          </a:lstStyle>
          <a:p>
            <a:pPr marL="38100">
              <a:lnSpc>
                <a:spcPts val="1125"/>
              </a:lnSpc>
            </a:pPr>
            <a:fld id="{81D60167-4931-47E6-BA6A-407CBD079E47}" type="slidenum">
              <a:rPr spc="-5" dirty="0"/>
              <a:t>‹#›</a:t>
            </a:fld>
            <a:endParaRPr spc="-5" dirty="0"/>
          </a:p>
        </p:txBody>
      </p:sp>
    </p:spTree>
    <p:extLst>
      <p:ext uri="{BB962C8B-B14F-4D97-AF65-F5344CB8AC3E}">
        <p14:creationId xmlns:p14="http://schemas.microsoft.com/office/powerpoint/2010/main" val="16228270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1" i="0">
                <a:solidFill>
                  <a:srgbClr val="232852"/>
                </a:solidFill>
                <a:latin typeface="Century Gothic"/>
                <a:cs typeface="Century Gothic"/>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318960" y="1087668"/>
            <a:ext cx="5311140" cy="4347845"/>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7" name="Holder 7"/>
          <p:cNvSpPr>
            <a:spLocks noGrp="1"/>
          </p:cNvSpPr>
          <p:nvPr>
            <p:ph type="sldNum" sz="quarter" idx="7"/>
          </p:nvPr>
        </p:nvSpPr>
        <p:spPr/>
        <p:txBody>
          <a:bodyPr lIns="0" tIns="0" rIns="0" bIns="0"/>
          <a:lstStyle>
            <a:lvl1pPr>
              <a:defRPr sz="1100" b="0" i="0">
                <a:solidFill>
                  <a:schemeClr val="tx1"/>
                </a:solidFill>
                <a:latin typeface="Palatino Linotype"/>
                <a:cs typeface="Palatino Linotype"/>
              </a:defRPr>
            </a:lvl1pPr>
          </a:lstStyle>
          <a:p>
            <a:pPr marL="38100">
              <a:lnSpc>
                <a:spcPts val="1125"/>
              </a:lnSpc>
            </a:pPr>
            <a:fld id="{81D60167-4931-47E6-BA6A-407CBD079E47}" type="slidenum">
              <a:rPr spc="-5" dirty="0"/>
              <a:t>‹#›</a:t>
            </a:fld>
            <a:endParaRPr spc="-5" dirty="0"/>
          </a:p>
        </p:txBody>
      </p:sp>
    </p:spTree>
    <p:extLst>
      <p:ext uri="{BB962C8B-B14F-4D97-AF65-F5344CB8AC3E}">
        <p14:creationId xmlns:p14="http://schemas.microsoft.com/office/powerpoint/2010/main" val="551246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1" i="0">
                <a:solidFill>
                  <a:srgbClr val="232852"/>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5" name="Holder 5"/>
          <p:cNvSpPr>
            <a:spLocks noGrp="1"/>
          </p:cNvSpPr>
          <p:nvPr>
            <p:ph type="sldNum" sz="quarter" idx="7"/>
          </p:nvPr>
        </p:nvSpPr>
        <p:spPr/>
        <p:txBody>
          <a:bodyPr lIns="0" tIns="0" rIns="0" bIns="0"/>
          <a:lstStyle>
            <a:lvl1pPr>
              <a:defRPr sz="1100" b="0" i="0">
                <a:solidFill>
                  <a:schemeClr val="tx1"/>
                </a:solidFill>
                <a:latin typeface="Palatino Linotype"/>
                <a:cs typeface="Palatino Linotype"/>
              </a:defRPr>
            </a:lvl1pPr>
          </a:lstStyle>
          <a:p>
            <a:pPr marL="38100">
              <a:lnSpc>
                <a:spcPts val="1125"/>
              </a:lnSpc>
            </a:pPr>
            <a:fld id="{81D60167-4931-47E6-BA6A-407CBD079E47}" type="slidenum">
              <a:rPr spc="-5" dirty="0"/>
              <a:t>‹#›</a:t>
            </a:fld>
            <a:endParaRPr spc="-5" dirty="0"/>
          </a:p>
        </p:txBody>
      </p:sp>
    </p:spTree>
    <p:extLst>
      <p:ext uri="{BB962C8B-B14F-4D97-AF65-F5344CB8AC3E}">
        <p14:creationId xmlns:p14="http://schemas.microsoft.com/office/powerpoint/2010/main" val="25816596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4" name="Holder 4"/>
          <p:cNvSpPr>
            <a:spLocks noGrp="1"/>
          </p:cNvSpPr>
          <p:nvPr>
            <p:ph type="sldNum" sz="quarter" idx="7"/>
          </p:nvPr>
        </p:nvSpPr>
        <p:spPr/>
        <p:txBody>
          <a:bodyPr lIns="0" tIns="0" rIns="0" bIns="0"/>
          <a:lstStyle>
            <a:lvl1pPr>
              <a:defRPr sz="1100" b="0" i="0">
                <a:solidFill>
                  <a:schemeClr val="tx1"/>
                </a:solidFill>
                <a:latin typeface="Palatino Linotype"/>
                <a:cs typeface="Palatino Linotype"/>
              </a:defRPr>
            </a:lvl1pPr>
          </a:lstStyle>
          <a:p>
            <a:pPr marL="38100">
              <a:lnSpc>
                <a:spcPts val="1125"/>
              </a:lnSpc>
            </a:pPr>
            <a:fld id="{81D60167-4931-47E6-BA6A-407CBD079E47}" type="slidenum">
              <a:rPr spc="-5" dirty="0"/>
              <a:t>‹#›</a:t>
            </a:fld>
            <a:endParaRPr spc="-5" dirty="0"/>
          </a:p>
        </p:txBody>
      </p:sp>
    </p:spTree>
    <p:extLst>
      <p:ext uri="{BB962C8B-B14F-4D97-AF65-F5344CB8AC3E}">
        <p14:creationId xmlns:p14="http://schemas.microsoft.com/office/powerpoint/2010/main" val="40269097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B79AF-72F3-0D3E-98A7-2D5272BED0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8171F0B-98B1-2A34-1CC2-F4F239EE43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319BEF8-3A80-52EA-AE38-E791F6264777}"/>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5" name="Footer Placeholder 4">
            <a:extLst>
              <a:ext uri="{FF2B5EF4-FFF2-40B4-BE49-F238E27FC236}">
                <a16:creationId xmlns:a16="http://schemas.microsoft.com/office/drawing/2014/main" id="{9AC24B5D-D6FB-F942-1D7B-CBED705164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76A02D-DD7E-EA9E-7AC9-0598FC4153B6}"/>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3009198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99919-6E22-61F6-F6A7-B5B96E4113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47F46B7-3CA8-90A8-5080-060FD5B232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7F5180-CBA4-C7A8-E916-A2F08CC1A2A9}"/>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5" name="Footer Placeholder 4">
            <a:extLst>
              <a:ext uri="{FF2B5EF4-FFF2-40B4-BE49-F238E27FC236}">
                <a16:creationId xmlns:a16="http://schemas.microsoft.com/office/drawing/2014/main" id="{DD5E96D6-441F-0CC4-54D2-14B5AF970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A776A4-031F-496B-36A9-270C6BDCFB04}"/>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31780713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A025-7D06-B97A-0EB5-CECAEC165C0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345F876-21E0-E708-7A2B-995007381C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DDEAF22-922D-669C-5B80-18E3647CA08A}"/>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5" name="Footer Placeholder 4">
            <a:extLst>
              <a:ext uri="{FF2B5EF4-FFF2-40B4-BE49-F238E27FC236}">
                <a16:creationId xmlns:a16="http://schemas.microsoft.com/office/drawing/2014/main" id="{D4FC9A7B-0EC1-3557-97AE-AF4F5E4B6F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12ED7E-563E-6657-71A3-A687D1B89CD7}"/>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728352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4E3F6-7922-C215-2920-F0CCFA259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52444D-C870-2CCA-237E-AF4A391D0EA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6BCC42-B323-674C-F3D1-AC78D220D0D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B1F577F-0108-B641-0E65-64EDAAF8384D}"/>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6" name="Footer Placeholder 5">
            <a:extLst>
              <a:ext uri="{FF2B5EF4-FFF2-40B4-BE49-F238E27FC236}">
                <a16:creationId xmlns:a16="http://schemas.microsoft.com/office/drawing/2014/main" id="{F10BFCEF-1F68-D820-E3F5-52185763C6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9C2D458-2C28-43E3-47C2-5AE094A166E2}"/>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21481943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6532F-803F-D4B4-CEA9-102D196749B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32540EF-9DBB-CC99-9044-4862DA522A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FA5E36-6A85-A873-6D96-72E9E919D26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DAC434D-4F47-23E5-42A5-05509F67C2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DCFD231-E58D-54D7-3697-CDAB0E423B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E74F76-E67B-2192-CFE8-B23072776DFD}"/>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8" name="Footer Placeholder 7">
            <a:extLst>
              <a:ext uri="{FF2B5EF4-FFF2-40B4-BE49-F238E27FC236}">
                <a16:creationId xmlns:a16="http://schemas.microsoft.com/office/drawing/2014/main" id="{F7C003B1-44B4-4C0C-4AFB-AAE7C55BF2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1D6B2AE-A637-B713-D3DE-6BC7E0CB8B10}"/>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169058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82310-9861-7263-9841-76FBCA794E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423014-96C0-7F3B-D65D-19EB9D4A5A59}"/>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4" name="Footer Placeholder 3">
            <a:extLst>
              <a:ext uri="{FF2B5EF4-FFF2-40B4-BE49-F238E27FC236}">
                <a16:creationId xmlns:a16="http://schemas.microsoft.com/office/drawing/2014/main" id="{414580EB-FA2B-6619-441C-E5B255CF75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95702F9-135A-D296-FC6F-E89D27A31DDA}"/>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24227819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272681-1207-C713-4C42-C48F9FF2A3B1}"/>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3" name="Footer Placeholder 2">
            <a:extLst>
              <a:ext uri="{FF2B5EF4-FFF2-40B4-BE49-F238E27FC236}">
                <a16:creationId xmlns:a16="http://schemas.microsoft.com/office/drawing/2014/main" id="{BF1748DB-5F67-1199-9F19-4FA352B294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EE145A-65E2-489E-5D42-CCA86E68A7CD}"/>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3375819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8B43F-3F9A-A47F-9473-7202763DA7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ACA6A0E-153D-54FF-FB9A-E9A4936061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B7AE0DA-9A12-37E7-C7F3-5BFE4B90C0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BF1597-FDB4-3E5F-D570-B2909797EAA9}"/>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6" name="Footer Placeholder 5">
            <a:extLst>
              <a:ext uri="{FF2B5EF4-FFF2-40B4-BE49-F238E27FC236}">
                <a16:creationId xmlns:a16="http://schemas.microsoft.com/office/drawing/2014/main" id="{97CC030B-0F29-B560-6A7D-65AB80B87B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EDBCF6-4825-546C-C5CE-772834546768}"/>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35340082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0609F-57DC-B229-EC8B-F78E30474B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C55E46F-B88A-C336-4F6C-22298234D73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17C7AD8-C279-4ABC-C8F0-A7D312B003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1B769D-D4D5-1CFC-D44F-6C6A37163EBF}"/>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6" name="Footer Placeholder 5">
            <a:extLst>
              <a:ext uri="{FF2B5EF4-FFF2-40B4-BE49-F238E27FC236}">
                <a16:creationId xmlns:a16="http://schemas.microsoft.com/office/drawing/2014/main" id="{89F81ED9-2647-7A43-3D1C-C926DFAD76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EEFF65-2315-CBEC-20B9-F41433A89FA5}"/>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18488716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F1E56-508A-39AE-C806-D380DBFFBA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F9C3A5-F34E-5EB8-64E5-2EE42E4E712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F42DAE-FD2C-DCC9-48FB-FC4B695DB828}"/>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5" name="Footer Placeholder 4">
            <a:extLst>
              <a:ext uri="{FF2B5EF4-FFF2-40B4-BE49-F238E27FC236}">
                <a16:creationId xmlns:a16="http://schemas.microsoft.com/office/drawing/2014/main" id="{0411B64D-9E3D-9697-2BFE-519B805BB1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3913CC-93E5-6991-F70F-6E5C5D1965DF}"/>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1091992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E35DB0-B9CA-C30E-0900-BA3978577F1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275EAD-DBC1-3556-1989-7A820E7B58A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D180D8-AEAE-5C80-E957-F2F5F0E96A5D}"/>
              </a:ext>
            </a:extLst>
          </p:cNvPr>
          <p:cNvSpPr>
            <a:spLocks noGrp="1"/>
          </p:cNvSpPr>
          <p:nvPr>
            <p:ph type="dt" sz="half" idx="10"/>
          </p:nvPr>
        </p:nvSpPr>
        <p:spPr/>
        <p:txBody>
          <a:bodyPr/>
          <a:lstStyle/>
          <a:p>
            <a:fld id="{9BA5EAC4-38C8-4641-9285-8AD9667EA847}" type="datetimeFigureOut">
              <a:rPr lang="en-US" smtClean="0"/>
              <a:t>4/4/2024</a:t>
            </a:fld>
            <a:endParaRPr lang="en-US"/>
          </a:p>
        </p:txBody>
      </p:sp>
      <p:sp>
        <p:nvSpPr>
          <p:cNvPr id="5" name="Footer Placeholder 4">
            <a:extLst>
              <a:ext uri="{FF2B5EF4-FFF2-40B4-BE49-F238E27FC236}">
                <a16:creationId xmlns:a16="http://schemas.microsoft.com/office/drawing/2014/main" id="{7FA6900E-0CE7-875D-BC6A-D17639BAE4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BA9C6C-7FE3-4BCD-29F2-3CD819FD60EB}"/>
              </a:ext>
            </a:extLst>
          </p:cNvPr>
          <p:cNvSpPr>
            <a:spLocks noGrp="1"/>
          </p:cNvSpPr>
          <p:nvPr>
            <p:ph type="sldNum" sz="quarter" idx="12"/>
          </p:nvPr>
        </p:nvSpPr>
        <p:spPr/>
        <p:txBody>
          <a:bodyPr/>
          <a:lstStyle/>
          <a:p>
            <a:fld id="{4F321E16-1E52-4854-8F2F-3EF2DE38C196}" type="slidenum">
              <a:rPr lang="en-US" smtClean="0"/>
              <a:t>‹#›</a:t>
            </a:fld>
            <a:endParaRPr lang="en-US"/>
          </a:p>
        </p:txBody>
      </p:sp>
    </p:spTree>
    <p:extLst>
      <p:ext uri="{BB962C8B-B14F-4D97-AF65-F5344CB8AC3E}">
        <p14:creationId xmlns:p14="http://schemas.microsoft.com/office/powerpoint/2010/main" val="7166656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923330"/>
          </a:xfrm>
          <a:prstGeom prst="rect">
            <a:avLst/>
          </a:prstGeom>
        </p:spPr>
        <p:txBody>
          <a:bodyPr wrap="square" lIns="0" tIns="0" rIns="0" bIns="0">
            <a:spAutoFit/>
          </a:bodyPr>
          <a:lstStyle>
            <a:lvl1pPr>
              <a:defRPr sz="6000" b="0" i="0">
                <a:solidFill>
                  <a:srgbClr val="45482F"/>
                </a:solidFill>
                <a:latin typeface="Palatino Linotype"/>
                <a:cs typeface="Palatino Linotype"/>
              </a:defRPr>
            </a:lvl1pPr>
          </a:lstStyle>
          <a:p>
            <a:endParaRPr/>
          </a:p>
        </p:txBody>
      </p:sp>
      <p:sp>
        <p:nvSpPr>
          <p:cNvPr id="3" name="Holder 3"/>
          <p:cNvSpPr>
            <a:spLocks noGrp="1"/>
          </p:cNvSpPr>
          <p:nvPr>
            <p:ph type="subTitle" idx="4"/>
          </p:nvPr>
        </p:nvSpPr>
        <p:spPr>
          <a:xfrm>
            <a:off x="1828800" y="3840480"/>
            <a:ext cx="8534400" cy="430887"/>
          </a:xfrm>
          <a:prstGeom prst="rect">
            <a:avLst/>
          </a:prstGeom>
        </p:spPr>
        <p:txBody>
          <a:bodyPr wrap="square" lIns="0" tIns="0" rIns="0" bIns="0">
            <a:spAutoFit/>
          </a:bodyPr>
          <a:lstStyle>
            <a:lvl1pPr>
              <a:defRPr sz="2800" b="0" i="0">
                <a:solidFill>
                  <a:srgbClr val="45482F"/>
                </a:solidFill>
                <a:latin typeface="Noto Sans"/>
                <a:cs typeface="No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13936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331019" y="32920"/>
            <a:ext cx="9529960" cy="923330"/>
          </a:xfrm>
        </p:spPr>
        <p:txBody>
          <a:bodyPr lIns="0" tIns="0" rIns="0" bIns="0"/>
          <a:lstStyle>
            <a:lvl1pPr>
              <a:defRPr sz="6000" b="0" i="0">
                <a:solidFill>
                  <a:srgbClr val="45482F"/>
                </a:solidFill>
                <a:latin typeface="Palatino Linotype"/>
                <a:cs typeface="Palatino Linotype"/>
              </a:defRPr>
            </a:lvl1pPr>
          </a:lstStyle>
          <a:p>
            <a:endParaRPr/>
          </a:p>
        </p:txBody>
      </p:sp>
      <p:sp>
        <p:nvSpPr>
          <p:cNvPr id="3" name="Holder 3"/>
          <p:cNvSpPr>
            <a:spLocks noGrp="1"/>
          </p:cNvSpPr>
          <p:nvPr>
            <p:ph type="body" idx="1"/>
          </p:nvPr>
        </p:nvSpPr>
        <p:spPr>
          <a:xfrm>
            <a:off x="4908993" y="2360084"/>
            <a:ext cx="6797887" cy="430887"/>
          </a:xfrm>
        </p:spPr>
        <p:txBody>
          <a:bodyPr lIns="0" tIns="0" rIns="0" bIns="0"/>
          <a:lstStyle>
            <a:lvl1pPr>
              <a:defRPr sz="2800" b="0" i="0">
                <a:solidFill>
                  <a:srgbClr val="45482F"/>
                </a:solidFill>
                <a:latin typeface="Noto Sans"/>
                <a:cs typeface="No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04050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331019" y="32920"/>
            <a:ext cx="9529960" cy="923330"/>
          </a:xfrm>
        </p:spPr>
        <p:txBody>
          <a:bodyPr lIns="0" tIns="0" rIns="0" bIns="0"/>
          <a:lstStyle>
            <a:lvl1pPr>
              <a:defRPr sz="6000" b="0" i="0">
                <a:solidFill>
                  <a:srgbClr val="45482F"/>
                </a:solidFill>
                <a:latin typeface="Palatino Linotype"/>
                <a:cs typeface="Palatino Linotype"/>
              </a:defRPr>
            </a:lvl1pPr>
          </a:lstStyle>
          <a:p>
            <a:endParaRPr/>
          </a:p>
        </p:txBody>
      </p:sp>
      <p:sp>
        <p:nvSpPr>
          <p:cNvPr id="3" name="Holder 3"/>
          <p:cNvSpPr>
            <a:spLocks noGrp="1"/>
          </p:cNvSpPr>
          <p:nvPr>
            <p:ph sz="half" idx="2"/>
          </p:nvPr>
        </p:nvSpPr>
        <p:spPr>
          <a:xfrm>
            <a:off x="609600" y="1577340"/>
            <a:ext cx="5303520" cy="64633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4633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118891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331019" y="32920"/>
            <a:ext cx="9529960" cy="923330"/>
          </a:xfrm>
        </p:spPr>
        <p:txBody>
          <a:bodyPr lIns="0" tIns="0" rIns="0" bIns="0"/>
          <a:lstStyle>
            <a:lvl1pPr>
              <a:defRPr sz="6000" b="0" i="0">
                <a:solidFill>
                  <a:srgbClr val="45482F"/>
                </a:solidFill>
                <a:latin typeface="Palatino Linotype"/>
                <a:cs typeface="Palatino Linotype"/>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9601683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8288000" h="10287000">
                <a:moveTo>
                  <a:pt x="18287998" y="10286999"/>
                </a:moveTo>
                <a:lnTo>
                  <a:pt x="0" y="10286999"/>
                </a:lnTo>
                <a:lnTo>
                  <a:pt x="0" y="0"/>
                </a:lnTo>
                <a:lnTo>
                  <a:pt x="18287998" y="0"/>
                </a:lnTo>
                <a:lnTo>
                  <a:pt x="18287998" y="10286999"/>
                </a:lnTo>
                <a:close/>
              </a:path>
            </a:pathLst>
          </a:custGeom>
          <a:solidFill>
            <a:srgbClr val="E4DFCD"/>
          </a:solidFill>
        </p:spPr>
        <p:txBody>
          <a:bodyPr wrap="square" lIns="0" tIns="0" rIns="0" bIns="0" rtlCol="0"/>
          <a:lstStyle/>
          <a:p>
            <a:endParaRPr sz="1200"/>
          </a:p>
        </p:txBody>
      </p:sp>
      <p:sp>
        <p:nvSpPr>
          <p:cNvPr id="17" name="bg object 17"/>
          <p:cNvSpPr/>
          <p:nvPr/>
        </p:nvSpPr>
        <p:spPr>
          <a:xfrm>
            <a:off x="6158647" y="685800"/>
            <a:ext cx="673100" cy="673100"/>
          </a:xfrm>
          <a:custGeom>
            <a:avLst/>
            <a:gdLst/>
            <a:ahLst/>
            <a:cxnLst/>
            <a:rect l="l" t="t" r="r" b="b"/>
            <a:pathLst>
              <a:path w="1009650" h="1009650">
                <a:moveTo>
                  <a:pt x="504676" y="1009354"/>
                </a:moveTo>
                <a:lnTo>
                  <a:pt x="456073" y="1007044"/>
                </a:lnTo>
                <a:lnTo>
                  <a:pt x="408776" y="1000254"/>
                </a:lnTo>
                <a:lnTo>
                  <a:pt x="362998" y="989196"/>
                </a:lnTo>
                <a:lnTo>
                  <a:pt x="318950" y="974081"/>
                </a:lnTo>
                <a:lnTo>
                  <a:pt x="276844" y="955122"/>
                </a:lnTo>
                <a:lnTo>
                  <a:pt x="236891" y="932529"/>
                </a:lnTo>
                <a:lnTo>
                  <a:pt x="199302" y="906514"/>
                </a:lnTo>
                <a:lnTo>
                  <a:pt x="164290" y="877288"/>
                </a:lnTo>
                <a:lnTo>
                  <a:pt x="132065" y="845063"/>
                </a:lnTo>
                <a:lnTo>
                  <a:pt x="102840" y="810051"/>
                </a:lnTo>
                <a:lnTo>
                  <a:pt x="76824" y="772462"/>
                </a:lnTo>
                <a:lnTo>
                  <a:pt x="54231" y="732509"/>
                </a:lnTo>
                <a:lnTo>
                  <a:pt x="35272" y="690403"/>
                </a:lnTo>
                <a:lnTo>
                  <a:pt x="20157" y="646355"/>
                </a:lnTo>
                <a:lnTo>
                  <a:pt x="9100" y="600577"/>
                </a:lnTo>
                <a:lnTo>
                  <a:pt x="2310" y="553280"/>
                </a:lnTo>
                <a:lnTo>
                  <a:pt x="0" y="504677"/>
                </a:lnTo>
                <a:lnTo>
                  <a:pt x="2310" y="456073"/>
                </a:lnTo>
                <a:lnTo>
                  <a:pt x="9100" y="408776"/>
                </a:lnTo>
                <a:lnTo>
                  <a:pt x="20157" y="362998"/>
                </a:lnTo>
                <a:lnTo>
                  <a:pt x="35272" y="318950"/>
                </a:lnTo>
                <a:lnTo>
                  <a:pt x="54231" y="276844"/>
                </a:lnTo>
                <a:lnTo>
                  <a:pt x="76824" y="236891"/>
                </a:lnTo>
                <a:lnTo>
                  <a:pt x="102840" y="199303"/>
                </a:lnTo>
                <a:lnTo>
                  <a:pt x="132065" y="164290"/>
                </a:lnTo>
                <a:lnTo>
                  <a:pt x="164290" y="132065"/>
                </a:lnTo>
                <a:lnTo>
                  <a:pt x="199302" y="102840"/>
                </a:lnTo>
                <a:lnTo>
                  <a:pt x="236891" y="76824"/>
                </a:lnTo>
                <a:lnTo>
                  <a:pt x="276844" y="54231"/>
                </a:lnTo>
                <a:lnTo>
                  <a:pt x="318950" y="35272"/>
                </a:lnTo>
                <a:lnTo>
                  <a:pt x="362998" y="20157"/>
                </a:lnTo>
                <a:lnTo>
                  <a:pt x="408776" y="9100"/>
                </a:lnTo>
                <a:lnTo>
                  <a:pt x="456073" y="2310"/>
                </a:lnTo>
                <a:lnTo>
                  <a:pt x="504676" y="0"/>
                </a:lnTo>
                <a:lnTo>
                  <a:pt x="553280" y="2310"/>
                </a:lnTo>
                <a:lnTo>
                  <a:pt x="600577" y="9100"/>
                </a:lnTo>
                <a:lnTo>
                  <a:pt x="646355" y="20157"/>
                </a:lnTo>
                <a:lnTo>
                  <a:pt x="690403" y="35272"/>
                </a:lnTo>
                <a:lnTo>
                  <a:pt x="732509" y="54231"/>
                </a:lnTo>
                <a:lnTo>
                  <a:pt x="772462" y="76824"/>
                </a:lnTo>
                <a:lnTo>
                  <a:pt x="810051" y="102840"/>
                </a:lnTo>
                <a:lnTo>
                  <a:pt x="845063" y="132065"/>
                </a:lnTo>
                <a:lnTo>
                  <a:pt x="877288" y="164290"/>
                </a:lnTo>
                <a:lnTo>
                  <a:pt x="906514" y="199303"/>
                </a:lnTo>
                <a:lnTo>
                  <a:pt x="932529" y="236891"/>
                </a:lnTo>
                <a:lnTo>
                  <a:pt x="955122" y="276844"/>
                </a:lnTo>
                <a:lnTo>
                  <a:pt x="974082" y="318950"/>
                </a:lnTo>
                <a:lnTo>
                  <a:pt x="989196" y="362998"/>
                </a:lnTo>
                <a:lnTo>
                  <a:pt x="1000254" y="408776"/>
                </a:lnTo>
                <a:lnTo>
                  <a:pt x="1007044" y="456073"/>
                </a:lnTo>
                <a:lnTo>
                  <a:pt x="1009354" y="504677"/>
                </a:lnTo>
                <a:lnTo>
                  <a:pt x="1007044" y="553280"/>
                </a:lnTo>
                <a:lnTo>
                  <a:pt x="1000254" y="600577"/>
                </a:lnTo>
                <a:lnTo>
                  <a:pt x="989196" y="646355"/>
                </a:lnTo>
                <a:lnTo>
                  <a:pt x="974082" y="690403"/>
                </a:lnTo>
                <a:lnTo>
                  <a:pt x="955122" y="732509"/>
                </a:lnTo>
                <a:lnTo>
                  <a:pt x="932529" y="772462"/>
                </a:lnTo>
                <a:lnTo>
                  <a:pt x="906514" y="810051"/>
                </a:lnTo>
                <a:lnTo>
                  <a:pt x="877288" y="845063"/>
                </a:lnTo>
                <a:lnTo>
                  <a:pt x="845063" y="877288"/>
                </a:lnTo>
                <a:lnTo>
                  <a:pt x="810051" y="906514"/>
                </a:lnTo>
                <a:lnTo>
                  <a:pt x="772462" y="932529"/>
                </a:lnTo>
                <a:lnTo>
                  <a:pt x="732509" y="955122"/>
                </a:lnTo>
                <a:lnTo>
                  <a:pt x="690403" y="974081"/>
                </a:lnTo>
                <a:lnTo>
                  <a:pt x="646355" y="989196"/>
                </a:lnTo>
                <a:lnTo>
                  <a:pt x="600577" y="1000254"/>
                </a:lnTo>
                <a:lnTo>
                  <a:pt x="553280" y="1007044"/>
                </a:lnTo>
                <a:lnTo>
                  <a:pt x="504676" y="1009354"/>
                </a:lnTo>
                <a:close/>
              </a:path>
            </a:pathLst>
          </a:custGeom>
          <a:solidFill>
            <a:srgbClr val="B9C8D6"/>
          </a:solidFill>
        </p:spPr>
        <p:txBody>
          <a:bodyPr wrap="square" lIns="0" tIns="0" rIns="0" bIns="0" rtlCol="0"/>
          <a:lstStyle/>
          <a:p>
            <a:endParaRPr sz="1200"/>
          </a:p>
        </p:txBody>
      </p:sp>
      <p:sp>
        <p:nvSpPr>
          <p:cNvPr id="18" name="bg object 18"/>
          <p:cNvSpPr/>
          <p:nvPr/>
        </p:nvSpPr>
        <p:spPr>
          <a:xfrm>
            <a:off x="5423096" y="5673448"/>
            <a:ext cx="673100" cy="673100"/>
          </a:xfrm>
          <a:custGeom>
            <a:avLst/>
            <a:gdLst/>
            <a:ahLst/>
            <a:cxnLst/>
            <a:rect l="l" t="t" r="r" b="b"/>
            <a:pathLst>
              <a:path w="1009650" h="1009650">
                <a:moveTo>
                  <a:pt x="504676" y="1009354"/>
                </a:moveTo>
                <a:lnTo>
                  <a:pt x="456073" y="1007044"/>
                </a:lnTo>
                <a:lnTo>
                  <a:pt x="408776" y="1000254"/>
                </a:lnTo>
                <a:lnTo>
                  <a:pt x="362998" y="989196"/>
                </a:lnTo>
                <a:lnTo>
                  <a:pt x="318950" y="974082"/>
                </a:lnTo>
                <a:lnTo>
                  <a:pt x="276844" y="955122"/>
                </a:lnTo>
                <a:lnTo>
                  <a:pt x="236891" y="932529"/>
                </a:lnTo>
                <a:lnTo>
                  <a:pt x="199302" y="906514"/>
                </a:lnTo>
                <a:lnTo>
                  <a:pt x="164290" y="877288"/>
                </a:lnTo>
                <a:lnTo>
                  <a:pt x="132065" y="845063"/>
                </a:lnTo>
                <a:lnTo>
                  <a:pt x="102840" y="810051"/>
                </a:lnTo>
                <a:lnTo>
                  <a:pt x="76824" y="772462"/>
                </a:lnTo>
                <a:lnTo>
                  <a:pt x="54231" y="732509"/>
                </a:lnTo>
                <a:lnTo>
                  <a:pt x="35272" y="690403"/>
                </a:lnTo>
                <a:lnTo>
                  <a:pt x="20157" y="646355"/>
                </a:lnTo>
                <a:lnTo>
                  <a:pt x="9100" y="600577"/>
                </a:lnTo>
                <a:lnTo>
                  <a:pt x="2310" y="553280"/>
                </a:lnTo>
                <a:lnTo>
                  <a:pt x="0" y="504676"/>
                </a:lnTo>
                <a:lnTo>
                  <a:pt x="2310" y="456073"/>
                </a:lnTo>
                <a:lnTo>
                  <a:pt x="9100" y="408776"/>
                </a:lnTo>
                <a:lnTo>
                  <a:pt x="20157" y="362998"/>
                </a:lnTo>
                <a:lnTo>
                  <a:pt x="35272" y="318950"/>
                </a:lnTo>
                <a:lnTo>
                  <a:pt x="54231" y="276844"/>
                </a:lnTo>
                <a:lnTo>
                  <a:pt x="76824" y="236891"/>
                </a:lnTo>
                <a:lnTo>
                  <a:pt x="102840" y="199302"/>
                </a:lnTo>
                <a:lnTo>
                  <a:pt x="132065" y="164290"/>
                </a:lnTo>
                <a:lnTo>
                  <a:pt x="164290" y="132065"/>
                </a:lnTo>
                <a:lnTo>
                  <a:pt x="199302" y="102840"/>
                </a:lnTo>
                <a:lnTo>
                  <a:pt x="236891" y="76824"/>
                </a:lnTo>
                <a:lnTo>
                  <a:pt x="276844" y="54231"/>
                </a:lnTo>
                <a:lnTo>
                  <a:pt x="318950" y="35272"/>
                </a:lnTo>
                <a:lnTo>
                  <a:pt x="362998" y="20157"/>
                </a:lnTo>
                <a:lnTo>
                  <a:pt x="408776" y="9100"/>
                </a:lnTo>
                <a:lnTo>
                  <a:pt x="456073" y="2310"/>
                </a:lnTo>
                <a:lnTo>
                  <a:pt x="504676" y="0"/>
                </a:lnTo>
                <a:lnTo>
                  <a:pt x="553280" y="2310"/>
                </a:lnTo>
                <a:lnTo>
                  <a:pt x="600577" y="9100"/>
                </a:lnTo>
                <a:lnTo>
                  <a:pt x="646355" y="20157"/>
                </a:lnTo>
                <a:lnTo>
                  <a:pt x="690403" y="35272"/>
                </a:lnTo>
                <a:lnTo>
                  <a:pt x="732509" y="54231"/>
                </a:lnTo>
                <a:lnTo>
                  <a:pt x="772462" y="76824"/>
                </a:lnTo>
                <a:lnTo>
                  <a:pt x="810051" y="102840"/>
                </a:lnTo>
                <a:lnTo>
                  <a:pt x="845063" y="132065"/>
                </a:lnTo>
                <a:lnTo>
                  <a:pt x="877288" y="164290"/>
                </a:lnTo>
                <a:lnTo>
                  <a:pt x="906514" y="199302"/>
                </a:lnTo>
                <a:lnTo>
                  <a:pt x="932529" y="236891"/>
                </a:lnTo>
                <a:lnTo>
                  <a:pt x="955122" y="276844"/>
                </a:lnTo>
                <a:lnTo>
                  <a:pt x="974082" y="318950"/>
                </a:lnTo>
                <a:lnTo>
                  <a:pt x="989196" y="362998"/>
                </a:lnTo>
                <a:lnTo>
                  <a:pt x="1000254" y="408776"/>
                </a:lnTo>
                <a:lnTo>
                  <a:pt x="1007044" y="456073"/>
                </a:lnTo>
                <a:lnTo>
                  <a:pt x="1009354" y="504676"/>
                </a:lnTo>
                <a:lnTo>
                  <a:pt x="1007044" y="553280"/>
                </a:lnTo>
                <a:lnTo>
                  <a:pt x="1000254" y="600577"/>
                </a:lnTo>
                <a:lnTo>
                  <a:pt x="989196" y="646355"/>
                </a:lnTo>
                <a:lnTo>
                  <a:pt x="974082" y="690403"/>
                </a:lnTo>
                <a:lnTo>
                  <a:pt x="955122" y="732509"/>
                </a:lnTo>
                <a:lnTo>
                  <a:pt x="932529" y="772462"/>
                </a:lnTo>
                <a:lnTo>
                  <a:pt x="906514" y="810051"/>
                </a:lnTo>
                <a:lnTo>
                  <a:pt x="877288" y="845063"/>
                </a:lnTo>
                <a:lnTo>
                  <a:pt x="845063" y="877288"/>
                </a:lnTo>
                <a:lnTo>
                  <a:pt x="810051" y="906514"/>
                </a:lnTo>
                <a:lnTo>
                  <a:pt x="772462" y="932529"/>
                </a:lnTo>
                <a:lnTo>
                  <a:pt x="732509" y="955122"/>
                </a:lnTo>
                <a:lnTo>
                  <a:pt x="690403" y="974082"/>
                </a:lnTo>
                <a:lnTo>
                  <a:pt x="646355" y="989196"/>
                </a:lnTo>
                <a:lnTo>
                  <a:pt x="600577" y="1000254"/>
                </a:lnTo>
                <a:lnTo>
                  <a:pt x="553280" y="1007044"/>
                </a:lnTo>
                <a:lnTo>
                  <a:pt x="504676" y="1009354"/>
                </a:lnTo>
                <a:close/>
              </a:path>
            </a:pathLst>
          </a:custGeom>
          <a:solidFill>
            <a:srgbClr val="B9C8D6"/>
          </a:solidFill>
        </p:spPr>
        <p:txBody>
          <a:bodyPr wrap="square" lIns="0" tIns="0" rIns="0" bIns="0" rtlCol="0"/>
          <a:lstStyle/>
          <a:p>
            <a:endParaRPr sz="1200"/>
          </a:p>
        </p:txBody>
      </p:sp>
      <p:sp>
        <p:nvSpPr>
          <p:cNvPr id="19" name="bg object 19"/>
          <p:cNvSpPr/>
          <p:nvPr/>
        </p:nvSpPr>
        <p:spPr>
          <a:xfrm>
            <a:off x="0" y="5546513"/>
            <a:ext cx="1035050" cy="1311487"/>
          </a:xfrm>
          <a:custGeom>
            <a:avLst/>
            <a:gdLst/>
            <a:ahLst/>
            <a:cxnLst/>
            <a:rect l="l" t="t" r="r" b="b"/>
            <a:pathLst>
              <a:path w="1552575" h="1967229">
                <a:moveTo>
                  <a:pt x="1496316" y="1967229"/>
                </a:moveTo>
                <a:lnTo>
                  <a:pt x="0" y="1967229"/>
                </a:lnTo>
                <a:lnTo>
                  <a:pt x="0" y="0"/>
                </a:lnTo>
                <a:lnTo>
                  <a:pt x="48354" y="738"/>
                </a:lnTo>
                <a:lnTo>
                  <a:pt x="96339" y="2940"/>
                </a:lnTo>
                <a:lnTo>
                  <a:pt x="143936" y="6584"/>
                </a:lnTo>
                <a:lnTo>
                  <a:pt x="191121" y="11647"/>
                </a:lnTo>
                <a:lnTo>
                  <a:pt x="237873" y="18110"/>
                </a:lnTo>
                <a:lnTo>
                  <a:pt x="284171" y="25950"/>
                </a:lnTo>
                <a:lnTo>
                  <a:pt x="329994" y="35145"/>
                </a:lnTo>
                <a:lnTo>
                  <a:pt x="375320" y="45675"/>
                </a:lnTo>
                <a:lnTo>
                  <a:pt x="420127" y="57518"/>
                </a:lnTo>
                <a:lnTo>
                  <a:pt x="464394" y="70652"/>
                </a:lnTo>
                <a:lnTo>
                  <a:pt x="508100" y="85056"/>
                </a:lnTo>
                <a:lnTo>
                  <a:pt x="551223" y="100708"/>
                </a:lnTo>
                <a:lnTo>
                  <a:pt x="593742" y="117588"/>
                </a:lnTo>
                <a:lnTo>
                  <a:pt x="635634" y="135673"/>
                </a:lnTo>
                <a:lnTo>
                  <a:pt x="676880" y="154942"/>
                </a:lnTo>
                <a:lnTo>
                  <a:pt x="717456" y="175373"/>
                </a:lnTo>
                <a:lnTo>
                  <a:pt x="757342" y="196946"/>
                </a:lnTo>
                <a:lnTo>
                  <a:pt x="796517" y="219638"/>
                </a:lnTo>
                <a:lnTo>
                  <a:pt x="834958" y="243429"/>
                </a:lnTo>
                <a:lnTo>
                  <a:pt x="872645" y="268296"/>
                </a:lnTo>
                <a:lnTo>
                  <a:pt x="909556" y="294219"/>
                </a:lnTo>
                <a:lnTo>
                  <a:pt x="945669" y="321175"/>
                </a:lnTo>
                <a:lnTo>
                  <a:pt x="980963" y="349143"/>
                </a:lnTo>
                <a:lnTo>
                  <a:pt x="1015416" y="378103"/>
                </a:lnTo>
                <a:lnTo>
                  <a:pt x="1049007" y="408031"/>
                </a:lnTo>
                <a:lnTo>
                  <a:pt x="1081715" y="438908"/>
                </a:lnTo>
                <a:lnTo>
                  <a:pt x="1113518" y="470711"/>
                </a:lnTo>
                <a:lnTo>
                  <a:pt x="1144395" y="503419"/>
                </a:lnTo>
                <a:lnTo>
                  <a:pt x="1174324" y="537010"/>
                </a:lnTo>
                <a:lnTo>
                  <a:pt x="1203283" y="571463"/>
                </a:lnTo>
                <a:lnTo>
                  <a:pt x="1231251" y="606757"/>
                </a:lnTo>
                <a:lnTo>
                  <a:pt x="1258208" y="642870"/>
                </a:lnTo>
                <a:lnTo>
                  <a:pt x="1284130" y="679781"/>
                </a:lnTo>
                <a:lnTo>
                  <a:pt x="1308997" y="717468"/>
                </a:lnTo>
                <a:lnTo>
                  <a:pt x="1332788" y="755909"/>
                </a:lnTo>
                <a:lnTo>
                  <a:pt x="1355480" y="795084"/>
                </a:lnTo>
                <a:lnTo>
                  <a:pt x="1377053" y="834970"/>
                </a:lnTo>
                <a:lnTo>
                  <a:pt x="1397484" y="875546"/>
                </a:lnTo>
                <a:lnTo>
                  <a:pt x="1416753" y="916792"/>
                </a:lnTo>
                <a:lnTo>
                  <a:pt x="1434838" y="958684"/>
                </a:lnTo>
                <a:lnTo>
                  <a:pt x="1451718" y="1001203"/>
                </a:lnTo>
                <a:lnTo>
                  <a:pt x="1467370" y="1044326"/>
                </a:lnTo>
                <a:lnTo>
                  <a:pt x="1481774" y="1088032"/>
                </a:lnTo>
                <a:lnTo>
                  <a:pt x="1494908" y="1132299"/>
                </a:lnTo>
                <a:lnTo>
                  <a:pt x="1506751" y="1177106"/>
                </a:lnTo>
                <a:lnTo>
                  <a:pt x="1517281" y="1222432"/>
                </a:lnTo>
                <a:lnTo>
                  <a:pt x="1526477" y="1268255"/>
                </a:lnTo>
                <a:lnTo>
                  <a:pt x="1534316" y="1314553"/>
                </a:lnTo>
                <a:lnTo>
                  <a:pt x="1540779" y="1361305"/>
                </a:lnTo>
                <a:lnTo>
                  <a:pt x="1545843" y="1408490"/>
                </a:lnTo>
                <a:lnTo>
                  <a:pt x="1549486" y="1456086"/>
                </a:lnTo>
                <a:lnTo>
                  <a:pt x="1551688" y="1504072"/>
                </a:lnTo>
                <a:lnTo>
                  <a:pt x="1552427" y="1552426"/>
                </a:lnTo>
                <a:lnTo>
                  <a:pt x="1551688" y="1600780"/>
                </a:lnTo>
                <a:lnTo>
                  <a:pt x="1549486" y="1648766"/>
                </a:lnTo>
                <a:lnTo>
                  <a:pt x="1545843" y="1696363"/>
                </a:lnTo>
                <a:lnTo>
                  <a:pt x="1540779" y="1743548"/>
                </a:lnTo>
                <a:lnTo>
                  <a:pt x="1534316" y="1790300"/>
                </a:lnTo>
                <a:lnTo>
                  <a:pt x="1526477" y="1836598"/>
                </a:lnTo>
                <a:lnTo>
                  <a:pt x="1517281" y="1882421"/>
                </a:lnTo>
                <a:lnTo>
                  <a:pt x="1506751" y="1927747"/>
                </a:lnTo>
                <a:lnTo>
                  <a:pt x="1496316" y="1967229"/>
                </a:lnTo>
                <a:close/>
              </a:path>
            </a:pathLst>
          </a:custGeom>
          <a:solidFill>
            <a:srgbClr val="B9C8D6"/>
          </a:solidFill>
        </p:spPr>
        <p:txBody>
          <a:bodyPr wrap="square" lIns="0" tIns="0" rIns="0" bIns="0" rtlCol="0"/>
          <a:lstStyle/>
          <a:p>
            <a:endParaRPr sz="1200"/>
          </a:p>
        </p:txBody>
      </p:sp>
      <p:sp>
        <p:nvSpPr>
          <p:cNvPr id="20" name="bg object 20"/>
          <p:cNvSpPr/>
          <p:nvPr/>
        </p:nvSpPr>
        <p:spPr>
          <a:xfrm>
            <a:off x="6895051" y="183739"/>
            <a:ext cx="2057400" cy="2057400"/>
          </a:xfrm>
          <a:custGeom>
            <a:avLst/>
            <a:gdLst/>
            <a:ahLst/>
            <a:cxnLst/>
            <a:rect l="l" t="t" r="r" b="b"/>
            <a:pathLst>
              <a:path w="3086100" h="3086100">
                <a:moveTo>
                  <a:pt x="2600324" y="3086099"/>
                </a:moveTo>
                <a:lnTo>
                  <a:pt x="485774" y="3086099"/>
                </a:lnTo>
                <a:lnTo>
                  <a:pt x="437762" y="3083722"/>
                </a:lnTo>
                <a:lnTo>
                  <a:pt x="390562" y="3076679"/>
                </a:lnTo>
                <a:lnTo>
                  <a:pt x="344494" y="3065102"/>
                </a:lnTo>
                <a:lnTo>
                  <a:pt x="299876" y="3049122"/>
                </a:lnTo>
                <a:lnTo>
                  <a:pt x="257028" y="3028872"/>
                </a:lnTo>
                <a:lnTo>
                  <a:pt x="216266" y="3004484"/>
                </a:lnTo>
                <a:lnTo>
                  <a:pt x="177911" y="2976089"/>
                </a:lnTo>
                <a:lnTo>
                  <a:pt x="142280" y="2943819"/>
                </a:lnTo>
                <a:lnTo>
                  <a:pt x="110010" y="2908188"/>
                </a:lnTo>
                <a:lnTo>
                  <a:pt x="81615" y="2869833"/>
                </a:lnTo>
                <a:lnTo>
                  <a:pt x="57227" y="2829071"/>
                </a:lnTo>
                <a:lnTo>
                  <a:pt x="36977" y="2786223"/>
                </a:lnTo>
                <a:lnTo>
                  <a:pt x="20997" y="2741605"/>
                </a:lnTo>
                <a:lnTo>
                  <a:pt x="9420" y="2695537"/>
                </a:lnTo>
                <a:lnTo>
                  <a:pt x="2377" y="2648337"/>
                </a:lnTo>
                <a:lnTo>
                  <a:pt x="0" y="2600325"/>
                </a:lnTo>
                <a:lnTo>
                  <a:pt x="0" y="485775"/>
                </a:lnTo>
                <a:lnTo>
                  <a:pt x="2377" y="437762"/>
                </a:lnTo>
                <a:lnTo>
                  <a:pt x="9420" y="390562"/>
                </a:lnTo>
                <a:lnTo>
                  <a:pt x="20997" y="344494"/>
                </a:lnTo>
                <a:lnTo>
                  <a:pt x="36977" y="299876"/>
                </a:lnTo>
                <a:lnTo>
                  <a:pt x="57227" y="257028"/>
                </a:lnTo>
                <a:lnTo>
                  <a:pt x="81615" y="216266"/>
                </a:lnTo>
                <a:lnTo>
                  <a:pt x="110010" y="177911"/>
                </a:lnTo>
                <a:lnTo>
                  <a:pt x="142280" y="142280"/>
                </a:lnTo>
                <a:lnTo>
                  <a:pt x="177911" y="110010"/>
                </a:lnTo>
                <a:lnTo>
                  <a:pt x="216266" y="81615"/>
                </a:lnTo>
                <a:lnTo>
                  <a:pt x="257028" y="57227"/>
                </a:lnTo>
                <a:lnTo>
                  <a:pt x="299876" y="36977"/>
                </a:lnTo>
                <a:lnTo>
                  <a:pt x="344494" y="20997"/>
                </a:lnTo>
                <a:lnTo>
                  <a:pt x="390562" y="9420"/>
                </a:lnTo>
                <a:lnTo>
                  <a:pt x="437762" y="2377"/>
                </a:lnTo>
                <a:lnTo>
                  <a:pt x="485774" y="0"/>
                </a:lnTo>
                <a:lnTo>
                  <a:pt x="2600324" y="0"/>
                </a:lnTo>
                <a:lnTo>
                  <a:pt x="2648338" y="2377"/>
                </a:lnTo>
                <a:lnTo>
                  <a:pt x="2695537" y="9420"/>
                </a:lnTo>
                <a:lnTo>
                  <a:pt x="2741605" y="20997"/>
                </a:lnTo>
                <a:lnTo>
                  <a:pt x="2786223" y="36977"/>
                </a:lnTo>
                <a:lnTo>
                  <a:pt x="2829072" y="57227"/>
                </a:lnTo>
                <a:lnTo>
                  <a:pt x="2869833" y="81615"/>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5"/>
                </a:lnTo>
                <a:lnTo>
                  <a:pt x="3086099" y="2600325"/>
                </a:lnTo>
                <a:lnTo>
                  <a:pt x="3083722" y="2648337"/>
                </a:lnTo>
                <a:lnTo>
                  <a:pt x="3076679" y="2695537"/>
                </a:lnTo>
                <a:lnTo>
                  <a:pt x="3065102" y="2741605"/>
                </a:lnTo>
                <a:lnTo>
                  <a:pt x="3049122" y="2786223"/>
                </a:lnTo>
                <a:lnTo>
                  <a:pt x="3028872" y="2829071"/>
                </a:lnTo>
                <a:lnTo>
                  <a:pt x="3004484" y="2869833"/>
                </a:lnTo>
                <a:lnTo>
                  <a:pt x="2976089" y="2908188"/>
                </a:lnTo>
                <a:lnTo>
                  <a:pt x="2943820" y="2943819"/>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898B6B"/>
          </a:solidFill>
        </p:spPr>
        <p:txBody>
          <a:bodyPr wrap="square" lIns="0" tIns="0" rIns="0" bIns="0" rtlCol="0"/>
          <a:lstStyle/>
          <a:p>
            <a:endParaRPr sz="1200"/>
          </a:p>
        </p:txBody>
      </p:sp>
      <p:sp>
        <p:nvSpPr>
          <p:cNvPr id="21" name="bg object 21"/>
          <p:cNvSpPr/>
          <p:nvPr/>
        </p:nvSpPr>
        <p:spPr>
          <a:xfrm>
            <a:off x="9260318" y="183739"/>
            <a:ext cx="2057400" cy="2057400"/>
          </a:xfrm>
          <a:custGeom>
            <a:avLst/>
            <a:gdLst/>
            <a:ahLst/>
            <a:cxnLst/>
            <a:rect l="l" t="t" r="r" b="b"/>
            <a:pathLst>
              <a:path w="3086100" h="3086100">
                <a:moveTo>
                  <a:pt x="2600324" y="3086099"/>
                </a:moveTo>
                <a:lnTo>
                  <a:pt x="485774" y="3086099"/>
                </a:lnTo>
                <a:lnTo>
                  <a:pt x="437761" y="3083722"/>
                </a:lnTo>
                <a:lnTo>
                  <a:pt x="390562" y="3076679"/>
                </a:lnTo>
                <a:lnTo>
                  <a:pt x="344494" y="3065102"/>
                </a:lnTo>
                <a:lnTo>
                  <a:pt x="299876" y="3049122"/>
                </a:lnTo>
                <a:lnTo>
                  <a:pt x="257027" y="3028872"/>
                </a:lnTo>
                <a:lnTo>
                  <a:pt x="216266" y="3004484"/>
                </a:lnTo>
                <a:lnTo>
                  <a:pt x="177910" y="2976089"/>
                </a:lnTo>
                <a:lnTo>
                  <a:pt x="142279" y="2943819"/>
                </a:lnTo>
                <a:lnTo>
                  <a:pt x="110010" y="2908188"/>
                </a:lnTo>
                <a:lnTo>
                  <a:pt x="81615" y="2869833"/>
                </a:lnTo>
                <a:lnTo>
                  <a:pt x="57227" y="2829071"/>
                </a:lnTo>
                <a:lnTo>
                  <a:pt x="36977" y="2786223"/>
                </a:lnTo>
                <a:lnTo>
                  <a:pt x="20997" y="2741605"/>
                </a:lnTo>
                <a:lnTo>
                  <a:pt x="9420" y="2695537"/>
                </a:lnTo>
                <a:lnTo>
                  <a:pt x="2377" y="2648337"/>
                </a:lnTo>
                <a:lnTo>
                  <a:pt x="0" y="2600325"/>
                </a:lnTo>
                <a:lnTo>
                  <a:pt x="0" y="485775"/>
                </a:lnTo>
                <a:lnTo>
                  <a:pt x="2377" y="437762"/>
                </a:lnTo>
                <a:lnTo>
                  <a:pt x="9420" y="390562"/>
                </a:lnTo>
                <a:lnTo>
                  <a:pt x="20997" y="344494"/>
                </a:lnTo>
                <a:lnTo>
                  <a:pt x="36977" y="299876"/>
                </a:lnTo>
                <a:lnTo>
                  <a:pt x="57227" y="257028"/>
                </a:lnTo>
                <a:lnTo>
                  <a:pt x="81615" y="216266"/>
                </a:lnTo>
                <a:lnTo>
                  <a:pt x="110010" y="177911"/>
                </a:lnTo>
                <a:lnTo>
                  <a:pt x="142279" y="142280"/>
                </a:lnTo>
                <a:lnTo>
                  <a:pt x="177910" y="110010"/>
                </a:lnTo>
                <a:lnTo>
                  <a:pt x="216266" y="81615"/>
                </a:lnTo>
                <a:lnTo>
                  <a:pt x="257027" y="57227"/>
                </a:lnTo>
                <a:lnTo>
                  <a:pt x="299876" y="36977"/>
                </a:lnTo>
                <a:lnTo>
                  <a:pt x="344494" y="20997"/>
                </a:lnTo>
                <a:lnTo>
                  <a:pt x="390562" y="9420"/>
                </a:lnTo>
                <a:lnTo>
                  <a:pt x="437761" y="2377"/>
                </a:lnTo>
                <a:lnTo>
                  <a:pt x="485774" y="0"/>
                </a:lnTo>
                <a:lnTo>
                  <a:pt x="2600324" y="0"/>
                </a:lnTo>
                <a:lnTo>
                  <a:pt x="2648338" y="2377"/>
                </a:lnTo>
                <a:lnTo>
                  <a:pt x="2695537" y="9420"/>
                </a:lnTo>
                <a:lnTo>
                  <a:pt x="2741605" y="20997"/>
                </a:lnTo>
                <a:lnTo>
                  <a:pt x="2786223" y="36977"/>
                </a:lnTo>
                <a:lnTo>
                  <a:pt x="2829072" y="57227"/>
                </a:lnTo>
                <a:lnTo>
                  <a:pt x="2869833" y="81615"/>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5"/>
                </a:lnTo>
                <a:lnTo>
                  <a:pt x="3086099" y="2600325"/>
                </a:lnTo>
                <a:lnTo>
                  <a:pt x="3083722" y="2648337"/>
                </a:lnTo>
                <a:lnTo>
                  <a:pt x="3076679" y="2695537"/>
                </a:lnTo>
                <a:lnTo>
                  <a:pt x="3065102" y="2741605"/>
                </a:lnTo>
                <a:lnTo>
                  <a:pt x="3049122" y="2786223"/>
                </a:lnTo>
                <a:lnTo>
                  <a:pt x="3028872" y="2829071"/>
                </a:lnTo>
                <a:lnTo>
                  <a:pt x="3004484" y="2869833"/>
                </a:lnTo>
                <a:lnTo>
                  <a:pt x="2976089" y="2908188"/>
                </a:lnTo>
                <a:lnTo>
                  <a:pt x="2943820" y="2943819"/>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898B6B"/>
          </a:solidFill>
        </p:spPr>
        <p:txBody>
          <a:bodyPr wrap="square" lIns="0" tIns="0" rIns="0" bIns="0" rtlCol="0"/>
          <a:lstStyle/>
          <a:p>
            <a:endParaRPr sz="1200"/>
          </a:p>
        </p:txBody>
      </p:sp>
      <p:sp>
        <p:nvSpPr>
          <p:cNvPr id="22" name="bg object 22"/>
          <p:cNvSpPr/>
          <p:nvPr/>
        </p:nvSpPr>
        <p:spPr>
          <a:xfrm>
            <a:off x="9260318" y="4644748"/>
            <a:ext cx="2057400" cy="2057400"/>
          </a:xfrm>
          <a:custGeom>
            <a:avLst/>
            <a:gdLst/>
            <a:ahLst/>
            <a:cxnLst/>
            <a:rect l="l" t="t" r="r" b="b"/>
            <a:pathLst>
              <a:path w="3086100" h="3086100">
                <a:moveTo>
                  <a:pt x="2600324" y="3086099"/>
                </a:moveTo>
                <a:lnTo>
                  <a:pt x="485774" y="3086099"/>
                </a:lnTo>
                <a:lnTo>
                  <a:pt x="437761" y="3083722"/>
                </a:lnTo>
                <a:lnTo>
                  <a:pt x="390562" y="3076679"/>
                </a:lnTo>
                <a:lnTo>
                  <a:pt x="344494" y="3065102"/>
                </a:lnTo>
                <a:lnTo>
                  <a:pt x="299876" y="3049122"/>
                </a:lnTo>
                <a:lnTo>
                  <a:pt x="257027" y="3028872"/>
                </a:lnTo>
                <a:lnTo>
                  <a:pt x="216266" y="3004484"/>
                </a:lnTo>
                <a:lnTo>
                  <a:pt x="177910" y="2976089"/>
                </a:lnTo>
                <a:lnTo>
                  <a:pt x="142279" y="2943819"/>
                </a:lnTo>
                <a:lnTo>
                  <a:pt x="110010" y="2908188"/>
                </a:lnTo>
                <a:lnTo>
                  <a:pt x="81615" y="2869833"/>
                </a:lnTo>
                <a:lnTo>
                  <a:pt x="57227" y="2829071"/>
                </a:lnTo>
                <a:lnTo>
                  <a:pt x="36977" y="2786223"/>
                </a:lnTo>
                <a:lnTo>
                  <a:pt x="20997" y="2741605"/>
                </a:lnTo>
                <a:lnTo>
                  <a:pt x="9420" y="2695537"/>
                </a:lnTo>
                <a:lnTo>
                  <a:pt x="2377" y="2648337"/>
                </a:lnTo>
                <a:lnTo>
                  <a:pt x="0" y="2600324"/>
                </a:lnTo>
                <a:lnTo>
                  <a:pt x="0" y="485774"/>
                </a:lnTo>
                <a:lnTo>
                  <a:pt x="2377" y="437762"/>
                </a:lnTo>
                <a:lnTo>
                  <a:pt x="9420" y="390562"/>
                </a:lnTo>
                <a:lnTo>
                  <a:pt x="20997" y="344494"/>
                </a:lnTo>
                <a:lnTo>
                  <a:pt x="36977" y="299876"/>
                </a:lnTo>
                <a:lnTo>
                  <a:pt x="57227" y="257028"/>
                </a:lnTo>
                <a:lnTo>
                  <a:pt x="81615" y="216266"/>
                </a:lnTo>
                <a:lnTo>
                  <a:pt x="110010" y="177911"/>
                </a:lnTo>
                <a:lnTo>
                  <a:pt x="142279" y="142280"/>
                </a:lnTo>
                <a:lnTo>
                  <a:pt x="177910" y="110010"/>
                </a:lnTo>
                <a:lnTo>
                  <a:pt x="216266" y="81616"/>
                </a:lnTo>
                <a:lnTo>
                  <a:pt x="257027" y="57227"/>
                </a:lnTo>
                <a:lnTo>
                  <a:pt x="299876" y="36977"/>
                </a:lnTo>
                <a:lnTo>
                  <a:pt x="344494" y="20997"/>
                </a:lnTo>
                <a:lnTo>
                  <a:pt x="390562" y="9420"/>
                </a:lnTo>
                <a:lnTo>
                  <a:pt x="437761" y="2377"/>
                </a:lnTo>
                <a:lnTo>
                  <a:pt x="485774" y="0"/>
                </a:lnTo>
                <a:lnTo>
                  <a:pt x="2600324" y="0"/>
                </a:lnTo>
                <a:lnTo>
                  <a:pt x="2648338" y="2377"/>
                </a:lnTo>
                <a:lnTo>
                  <a:pt x="2695537" y="9420"/>
                </a:lnTo>
                <a:lnTo>
                  <a:pt x="2741605" y="20997"/>
                </a:lnTo>
                <a:lnTo>
                  <a:pt x="2786223" y="36977"/>
                </a:lnTo>
                <a:lnTo>
                  <a:pt x="2829072" y="57227"/>
                </a:lnTo>
                <a:lnTo>
                  <a:pt x="2869833" y="81616"/>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4"/>
                </a:lnTo>
                <a:lnTo>
                  <a:pt x="3086099" y="2600324"/>
                </a:lnTo>
                <a:lnTo>
                  <a:pt x="3083722" y="2648337"/>
                </a:lnTo>
                <a:lnTo>
                  <a:pt x="3076679" y="2695537"/>
                </a:lnTo>
                <a:lnTo>
                  <a:pt x="3065102" y="2741605"/>
                </a:lnTo>
                <a:lnTo>
                  <a:pt x="3049122" y="2786223"/>
                </a:lnTo>
                <a:lnTo>
                  <a:pt x="3028872" y="2829071"/>
                </a:lnTo>
                <a:lnTo>
                  <a:pt x="3004484" y="2869833"/>
                </a:lnTo>
                <a:lnTo>
                  <a:pt x="2976089" y="2908188"/>
                </a:lnTo>
                <a:lnTo>
                  <a:pt x="2943820" y="2943819"/>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898B6B"/>
          </a:solidFill>
        </p:spPr>
        <p:txBody>
          <a:bodyPr wrap="square" lIns="0" tIns="0" rIns="0" bIns="0" rtlCol="0"/>
          <a:lstStyle/>
          <a:p>
            <a:endParaRPr sz="1200"/>
          </a:p>
        </p:txBody>
      </p:sp>
      <p:sp>
        <p:nvSpPr>
          <p:cNvPr id="23" name="bg object 23"/>
          <p:cNvSpPr/>
          <p:nvPr/>
        </p:nvSpPr>
        <p:spPr>
          <a:xfrm>
            <a:off x="9395520" y="4890761"/>
            <a:ext cx="1787313" cy="1567603"/>
          </a:xfrm>
          <a:custGeom>
            <a:avLst/>
            <a:gdLst/>
            <a:ahLst/>
            <a:cxnLst/>
            <a:rect l="l" t="t" r="r" b="b"/>
            <a:pathLst>
              <a:path w="2680969" h="2351404">
                <a:moveTo>
                  <a:pt x="1931225" y="1271054"/>
                </a:moveTo>
                <a:lnTo>
                  <a:pt x="1926971" y="1220711"/>
                </a:lnTo>
                <a:lnTo>
                  <a:pt x="1916722" y="1170762"/>
                </a:lnTo>
                <a:lnTo>
                  <a:pt x="1900491" y="1122832"/>
                </a:lnTo>
                <a:lnTo>
                  <a:pt x="1878545" y="1077569"/>
                </a:lnTo>
                <a:lnTo>
                  <a:pt x="1851164" y="1035608"/>
                </a:lnTo>
                <a:lnTo>
                  <a:pt x="1824177" y="1004468"/>
                </a:lnTo>
                <a:lnTo>
                  <a:pt x="1824177" y="1285798"/>
                </a:lnTo>
                <a:lnTo>
                  <a:pt x="1820227" y="1334668"/>
                </a:lnTo>
                <a:lnTo>
                  <a:pt x="1809203" y="1381404"/>
                </a:lnTo>
                <a:lnTo>
                  <a:pt x="1791423" y="1425155"/>
                </a:lnTo>
                <a:lnTo>
                  <a:pt x="1767141" y="1464995"/>
                </a:lnTo>
                <a:lnTo>
                  <a:pt x="1736674" y="1500047"/>
                </a:lnTo>
                <a:lnTo>
                  <a:pt x="1730082" y="1506537"/>
                </a:lnTo>
                <a:lnTo>
                  <a:pt x="1694827" y="1541907"/>
                </a:lnTo>
                <a:lnTo>
                  <a:pt x="1477886" y="1755838"/>
                </a:lnTo>
                <a:lnTo>
                  <a:pt x="1424876" y="1805406"/>
                </a:lnTo>
                <a:lnTo>
                  <a:pt x="1385481" y="1840687"/>
                </a:lnTo>
                <a:lnTo>
                  <a:pt x="1339862" y="1878076"/>
                </a:lnTo>
                <a:lnTo>
                  <a:pt x="1323619" y="1865591"/>
                </a:lnTo>
                <a:lnTo>
                  <a:pt x="1278280" y="1826450"/>
                </a:lnTo>
                <a:lnTo>
                  <a:pt x="1249210" y="1799844"/>
                </a:lnTo>
                <a:lnTo>
                  <a:pt x="1215885" y="1768551"/>
                </a:lnTo>
                <a:lnTo>
                  <a:pt x="1178331" y="1732584"/>
                </a:lnTo>
                <a:lnTo>
                  <a:pt x="1136548" y="1691970"/>
                </a:lnTo>
                <a:lnTo>
                  <a:pt x="1090549" y="1646720"/>
                </a:lnTo>
                <a:lnTo>
                  <a:pt x="1026985" y="1583436"/>
                </a:lnTo>
                <a:lnTo>
                  <a:pt x="950391" y="1506651"/>
                </a:lnTo>
                <a:lnTo>
                  <a:pt x="943698" y="1500085"/>
                </a:lnTo>
                <a:lnTo>
                  <a:pt x="913206" y="1465021"/>
                </a:lnTo>
                <a:lnTo>
                  <a:pt x="888923" y="1425155"/>
                </a:lnTo>
                <a:lnTo>
                  <a:pt x="871131" y="1381417"/>
                </a:lnTo>
                <a:lnTo>
                  <a:pt x="860120" y="1334668"/>
                </a:lnTo>
                <a:lnTo>
                  <a:pt x="856157" y="1285798"/>
                </a:lnTo>
                <a:lnTo>
                  <a:pt x="859548" y="1235722"/>
                </a:lnTo>
                <a:lnTo>
                  <a:pt x="870927" y="1186180"/>
                </a:lnTo>
                <a:lnTo>
                  <a:pt x="889977" y="1140383"/>
                </a:lnTo>
                <a:lnTo>
                  <a:pt x="915746" y="1099388"/>
                </a:lnTo>
                <a:lnTo>
                  <a:pt x="947305" y="1064247"/>
                </a:lnTo>
                <a:lnTo>
                  <a:pt x="983678" y="1036040"/>
                </a:lnTo>
                <a:lnTo>
                  <a:pt x="1023924" y="1015796"/>
                </a:lnTo>
                <a:lnTo>
                  <a:pt x="1067028" y="1004633"/>
                </a:lnTo>
                <a:lnTo>
                  <a:pt x="1096975" y="1002461"/>
                </a:lnTo>
                <a:lnTo>
                  <a:pt x="1143012" y="1007567"/>
                </a:lnTo>
                <a:lnTo>
                  <a:pt x="1186916" y="1022502"/>
                </a:lnTo>
                <a:lnTo>
                  <a:pt x="1227556" y="1046670"/>
                </a:lnTo>
                <a:lnTo>
                  <a:pt x="1263802" y="1079512"/>
                </a:lnTo>
                <a:lnTo>
                  <a:pt x="1294511" y="1120419"/>
                </a:lnTo>
                <a:lnTo>
                  <a:pt x="1314272" y="1138250"/>
                </a:lnTo>
                <a:lnTo>
                  <a:pt x="1340167" y="1144193"/>
                </a:lnTo>
                <a:lnTo>
                  <a:pt x="1366062" y="1138250"/>
                </a:lnTo>
                <a:lnTo>
                  <a:pt x="1385824" y="1120419"/>
                </a:lnTo>
                <a:lnTo>
                  <a:pt x="1407718" y="1089621"/>
                </a:lnTo>
                <a:lnTo>
                  <a:pt x="1432877" y="1062901"/>
                </a:lnTo>
                <a:lnTo>
                  <a:pt x="1491576" y="1023010"/>
                </a:lnTo>
                <a:lnTo>
                  <a:pt x="1550974" y="1004633"/>
                </a:lnTo>
                <a:lnTo>
                  <a:pt x="1581797" y="1002296"/>
                </a:lnTo>
                <a:lnTo>
                  <a:pt x="1613230" y="1004608"/>
                </a:lnTo>
                <a:lnTo>
                  <a:pt x="1656080" y="1015555"/>
                </a:lnTo>
                <a:lnTo>
                  <a:pt x="1696339" y="1035456"/>
                </a:lnTo>
                <a:lnTo>
                  <a:pt x="1733067" y="1063726"/>
                </a:lnTo>
                <a:lnTo>
                  <a:pt x="1765338" y="1099794"/>
                </a:lnTo>
                <a:lnTo>
                  <a:pt x="1801393" y="1163739"/>
                </a:lnTo>
                <a:lnTo>
                  <a:pt x="1820786" y="1235722"/>
                </a:lnTo>
                <a:lnTo>
                  <a:pt x="1824177" y="1285798"/>
                </a:lnTo>
                <a:lnTo>
                  <a:pt x="1824177" y="1004468"/>
                </a:lnTo>
                <a:lnTo>
                  <a:pt x="1773250" y="958075"/>
                </a:lnTo>
                <a:lnTo>
                  <a:pt x="1728012" y="930211"/>
                </a:lnTo>
                <a:lnTo>
                  <a:pt x="1679524" y="910196"/>
                </a:lnTo>
                <a:lnTo>
                  <a:pt x="1628482" y="898436"/>
                </a:lnTo>
                <a:lnTo>
                  <a:pt x="1581480" y="895248"/>
                </a:lnTo>
                <a:lnTo>
                  <a:pt x="1534896" y="898842"/>
                </a:lnTo>
                <a:lnTo>
                  <a:pt x="1489379" y="909180"/>
                </a:lnTo>
                <a:lnTo>
                  <a:pt x="1445564" y="926198"/>
                </a:lnTo>
                <a:lnTo>
                  <a:pt x="1389545" y="959827"/>
                </a:lnTo>
                <a:lnTo>
                  <a:pt x="1340167" y="1004023"/>
                </a:lnTo>
                <a:lnTo>
                  <a:pt x="1338516" y="1002461"/>
                </a:lnTo>
                <a:lnTo>
                  <a:pt x="1306068" y="971804"/>
                </a:lnTo>
                <a:lnTo>
                  <a:pt x="1268806" y="944930"/>
                </a:lnTo>
                <a:lnTo>
                  <a:pt x="1228877" y="923632"/>
                </a:lnTo>
                <a:lnTo>
                  <a:pt x="1186738" y="908126"/>
                </a:lnTo>
                <a:lnTo>
                  <a:pt x="1142885" y="898601"/>
                </a:lnTo>
                <a:lnTo>
                  <a:pt x="1097775" y="895299"/>
                </a:lnTo>
                <a:lnTo>
                  <a:pt x="1051902" y="898436"/>
                </a:lnTo>
                <a:lnTo>
                  <a:pt x="1007249" y="908215"/>
                </a:lnTo>
                <a:lnTo>
                  <a:pt x="964768" y="924191"/>
                </a:lnTo>
                <a:lnTo>
                  <a:pt x="924877" y="945908"/>
                </a:lnTo>
                <a:lnTo>
                  <a:pt x="888009" y="972908"/>
                </a:lnTo>
                <a:lnTo>
                  <a:pt x="854557" y="1004747"/>
                </a:lnTo>
                <a:lnTo>
                  <a:pt x="824953" y="1040968"/>
                </a:lnTo>
                <a:lnTo>
                  <a:pt x="799617" y="1081125"/>
                </a:lnTo>
                <a:lnTo>
                  <a:pt x="778954" y="1124762"/>
                </a:lnTo>
                <a:lnTo>
                  <a:pt x="763409" y="1171422"/>
                </a:lnTo>
                <a:lnTo>
                  <a:pt x="753376" y="1220673"/>
                </a:lnTo>
                <a:lnTo>
                  <a:pt x="749109" y="1271028"/>
                </a:lnTo>
                <a:lnTo>
                  <a:pt x="750531" y="1320749"/>
                </a:lnTo>
                <a:lnTo>
                  <a:pt x="757466" y="1369314"/>
                </a:lnTo>
                <a:lnTo>
                  <a:pt x="769759" y="1416227"/>
                </a:lnTo>
                <a:lnTo>
                  <a:pt x="787234" y="1460957"/>
                </a:lnTo>
                <a:lnTo>
                  <a:pt x="809726" y="1503019"/>
                </a:lnTo>
                <a:lnTo>
                  <a:pt x="837082" y="1541907"/>
                </a:lnTo>
                <a:lnTo>
                  <a:pt x="869137" y="1577098"/>
                </a:lnTo>
                <a:lnTo>
                  <a:pt x="875512" y="1583372"/>
                </a:lnTo>
                <a:lnTo>
                  <a:pt x="998893" y="1706841"/>
                </a:lnTo>
                <a:lnTo>
                  <a:pt x="1073683" y="1780438"/>
                </a:lnTo>
                <a:lnTo>
                  <a:pt x="1135710" y="1840179"/>
                </a:lnTo>
                <a:lnTo>
                  <a:pt x="1186370" y="1887499"/>
                </a:lnTo>
                <a:lnTo>
                  <a:pt x="1227074" y="1923821"/>
                </a:lnTo>
                <a:lnTo>
                  <a:pt x="1259205" y="1950605"/>
                </a:lnTo>
                <a:lnTo>
                  <a:pt x="1303337" y="1981314"/>
                </a:lnTo>
                <a:lnTo>
                  <a:pt x="1340167" y="1991817"/>
                </a:lnTo>
                <a:lnTo>
                  <a:pt x="1358074" y="1989531"/>
                </a:lnTo>
                <a:lnTo>
                  <a:pt x="1382128" y="1978596"/>
                </a:lnTo>
                <a:lnTo>
                  <a:pt x="1418412" y="1952942"/>
                </a:lnTo>
                <a:lnTo>
                  <a:pt x="1473034" y="1906511"/>
                </a:lnTo>
                <a:lnTo>
                  <a:pt x="1503692" y="1878076"/>
                </a:lnTo>
                <a:lnTo>
                  <a:pt x="1552092" y="1833206"/>
                </a:lnTo>
                <a:lnTo>
                  <a:pt x="1552333" y="1833003"/>
                </a:lnTo>
                <a:lnTo>
                  <a:pt x="1552486" y="1832775"/>
                </a:lnTo>
                <a:lnTo>
                  <a:pt x="1552714" y="1832571"/>
                </a:lnTo>
                <a:lnTo>
                  <a:pt x="1734464" y="1654073"/>
                </a:lnTo>
                <a:lnTo>
                  <a:pt x="1804784" y="1583436"/>
                </a:lnTo>
                <a:lnTo>
                  <a:pt x="1811197" y="1577098"/>
                </a:lnTo>
                <a:lnTo>
                  <a:pt x="1843252" y="1541907"/>
                </a:lnTo>
                <a:lnTo>
                  <a:pt x="1870608" y="1503032"/>
                </a:lnTo>
                <a:lnTo>
                  <a:pt x="1893112" y="1460969"/>
                </a:lnTo>
                <a:lnTo>
                  <a:pt x="1910575" y="1416227"/>
                </a:lnTo>
                <a:lnTo>
                  <a:pt x="1922868" y="1369326"/>
                </a:lnTo>
                <a:lnTo>
                  <a:pt x="1929803" y="1320774"/>
                </a:lnTo>
                <a:lnTo>
                  <a:pt x="1931225" y="1271054"/>
                </a:lnTo>
                <a:close/>
              </a:path>
              <a:path w="2680969" h="2351404">
                <a:moveTo>
                  <a:pt x="2680347" y="975410"/>
                </a:moveTo>
                <a:lnTo>
                  <a:pt x="2677630" y="959015"/>
                </a:lnTo>
                <a:lnTo>
                  <a:pt x="2670035" y="944232"/>
                </a:lnTo>
                <a:lnTo>
                  <a:pt x="2657957" y="932281"/>
                </a:lnTo>
                <a:lnTo>
                  <a:pt x="2459913" y="790333"/>
                </a:lnTo>
                <a:lnTo>
                  <a:pt x="2459913" y="922223"/>
                </a:lnTo>
                <a:lnTo>
                  <a:pt x="2230831" y="922223"/>
                </a:lnTo>
                <a:lnTo>
                  <a:pt x="2192947" y="937907"/>
                </a:lnTo>
                <a:lnTo>
                  <a:pt x="2177338" y="975410"/>
                </a:lnTo>
                <a:lnTo>
                  <a:pt x="2177262" y="2243709"/>
                </a:lnTo>
                <a:lnTo>
                  <a:pt x="503072" y="2243709"/>
                </a:lnTo>
                <a:lnTo>
                  <a:pt x="502996" y="975410"/>
                </a:lnTo>
                <a:lnTo>
                  <a:pt x="487387" y="937907"/>
                </a:lnTo>
                <a:lnTo>
                  <a:pt x="449503" y="922223"/>
                </a:lnTo>
                <a:lnTo>
                  <a:pt x="220421" y="922223"/>
                </a:lnTo>
                <a:lnTo>
                  <a:pt x="1340167" y="119557"/>
                </a:lnTo>
                <a:lnTo>
                  <a:pt x="2459913" y="922223"/>
                </a:lnTo>
                <a:lnTo>
                  <a:pt x="2459913" y="790333"/>
                </a:lnTo>
                <a:lnTo>
                  <a:pt x="1524152" y="119557"/>
                </a:lnTo>
                <a:lnTo>
                  <a:pt x="1371396" y="10071"/>
                </a:lnTo>
                <a:lnTo>
                  <a:pt x="1356398" y="2514"/>
                </a:lnTo>
                <a:lnTo>
                  <a:pt x="1340167" y="0"/>
                </a:lnTo>
                <a:lnTo>
                  <a:pt x="1323936" y="2514"/>
                </a:lnTo>
                <a:lnTo>
                  <a:pt x="22377" y="932281"/>
                </a:lnTo>
                <a:lnTo>
                  <a:pt x="0" y="975410"/>
                </a:lnTo>
                <a:lnTo>
                  <a:pt x="2565" y="992212"/>
                </a:lnTo>
                <a:lnTo>
                  <a:pt x="10287" y="1007376"/>
                </a:lnTo>
                <a:lnTo>
                  <a:pt x="22034" y="1019124"/>
                </a:lnTo>
                <a:lnTo>
                  <a:pt x="36817" y="1026718"/>
                </a:lnTo>
                <a:lnTo>
                  <a:pt x="53606" y="1029411"/>
                </a:lnTo>
                <a:lnTo>
                  <a:pt x="395884" y="1029411"/>
                </a:lnTo>
                <a:lnTo>
                  <a:pt x="395884" y="2297328"/>
                </a:lnTo>
                <a:lnTo>
                  <a:pt x="400100" y="2318207"/>
                </a:lnTo>
                <a:lnTo>
                  <a:pt x="411581" y="2335250"/>
                </a:lnTo>
                <a:lnTo>
                  <a:pt x="428625" y="2346731"/>
                </a:lnTo>
                <a:lnTo>
                  <a:pt x="449503" y="2350947"/>
                </a:lnTo>
                <a:lnTo>
                  <a:pt x="2230831" y="2350947"/>
                </a:lnTo>
                <a:lnTo>
                  <a:pt x="2251710" y="2346731"/>
                </a:lnTo>
                <a:lnTo>
                  <a:pt x="2268753" y="2335250"/>
                </a:lnTo>
                <a:lnTo>
                  <a:pt x="2280247" y="2318207"/>
                </a:lnTo>
                <a:lnTo>
                  <a:pt x="2284450" y="2297328"/>
                </a:lnTo>
                <a:lnTo>
                  <a:pt x="2284450" y="2243709"/>
                </a:lnTo>
                <a:lnTo>
                  <a:pt x="2284450" y="1029411"/>
                </a:lnTo>
                <a:lnTo>
                  <a:pt x="2626728" y="1029411"/>
                </a:lnTo>
                <a:lnTo>
                  <a:pt x="2643517" y="1026718"/>
                </a:lnTo>
                <a:lnTo>
                  <a:pt x="2658300" y="1019124"/>
                </a:lnTo>
                <a:lnTo>
                  <a:pt x="2670060" y="1007376"/>
                </a:lnTo>
                <a:lnTo>
                  <a:pt x="2677769" y="992212"/>
                </a:lnTo>
                <a:lnTo>
                  <a:pt x="2680347" y="975410"/>
                </a:lnTo>
                <a:close/>
              </a:path>
            </a:pathLst>
          </a:custGeom>
          <a:solidFill>
            <a:srgbClr val="F5F5F5"/>
          </a:solidFill>
        </p:spPr>
        <p:txBody>
          <a:bodyPr wrap="square" lIns="0" tIns="0" rIns="0" bIns="0" rtlCol="0"/>
          <a:lstStyle/>
          <a:p>
            <a:endParaRPr sz="12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772710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4400" b="0"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61335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58006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464870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078815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4/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852663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8"/>
        <p:cNvGrpSpPr/>
        <p:nvPr/>
      </p:nvGrpSpPr>
      <p:grpSpPr>
        <a:xfrm>
          <a:off x="0" y="0"/>
          <a:ext cx="0" cy="0"/>
          <a:chOff x="0" y="0"/>
          <a:chExt cx="0" cy="0"/>
        </a:xfrm>
      </p:grpSpPr>
      <p:sp>
        <p:nvSpPr>
          <p:cNvPr id="19" name="Google Shape;19;p22"/>
          <p:cNvSpPr txBox="1">
            <a:spLocks noGrp="1"/>
          </p:cNvSpPr>
          <p:nvPr>
            <p:ph type="ctrTitle"/>
          </p:nvPr>
        </p:nvSpPr>
        <p:spPr>
          <a:xfrm>
            <a:off x="914400" y="2286000"/>
            <a:ext cx="10363200" cy="1143000"/>
          </a:xfrm>
          <a:prstGeom prst="rect">
            <a:avLst/>
          </a:prstGeom>
          <a:noFill/>
          <a:ln>
            <a:noFill/>
          </a:ln>
        </p:spPr>
        <p:txBody>
          <a:bodyPr spcFirstLastPara="1" wrap="square" lIns="92075" tIns="46025" rIns="92075" bIns="460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22"/>
          <p:cNvSpPr txBox="1">
            <a:spLocks noGrp="1"/>
          </p:cNvSpPr>
          <p:nvPr>
            <p:ph type="subTitle" idx="1"/>
          </p:nvPr>
        </p:nvSpPr>
        <p:spPr>
          <a:xfrm>
            <a:off x="2743200" y="4114800"/>
            <a:ext cx="8534400" cy="1752600"/>
          </a:xfrm>
          <a:prstGeom prst="rect">
            <a:avLst/>
          </a:prstGeom>
          <a:noFill/>
          <a:ln>
            <a:noFill/>
          </a:ln>
        </p:spPr>
        <p:txBody>
          <a:bodyPr spcFirstLastPara="1" wrap="square" lIns="92075" tIns="46025" rIns="92075" bIns="46025" anchor="t" anchorCtr="0">
            <a:noAutofit/>
          </a:bodyPr>
          <a:lstStyle>
            <a:lvl1pPr lvl="0" algn="ctr">
              <a:spcBef>
                <a:spcPts val="640"/>
              </a:spcBef>
              <a:spcAft>
                <a:spcPts val="0"/>
              </a:spcAft>
              <a:buSzPts val="2560"/>
              <a:buFont typeface="Noto Sans Symbols"/>
              <a:buNone/>
              <a:defRPr b="0">
                <a:latin typeface="Times New Roman"/>
                <a:ea typeface="Times New Roman"/>
                <a:cs typeface="Times New Roman"/>
                <a:sym typeface="Times New Roman"/>
              </a:defRPr>
            </a:lvl1pPr>
            <a:lvl2pPr lvl="1" algn="l">
              <a:spcBef>
                <a:spcPts val="360"/>
              </a:spcBef>
              <a:spcAft>
                <a:spcPts val="0"/>
              </a:spcAft>
              <a:buClr>
                <a:schemeClr val="lt1"/>
              </a:buClr>
              <a:buSzPts val="1800"/>
              <a:buChar char="–"/>
              <a:defRPr/>
            </a:lvl2pPr>
            <a:lvl3pPr lvl="2" algn="l">
              <a:spcBef>
                <a:spcPts val="360"/>
              </a:spcBef>
              <a:spcAft>
                <a:spcPts val="0"/>
              </a:spcAft>
              <a:buSzPts val="1800"/>
              <a:buChar char="•"/>
              <a:defRPr/>
            </a:lvl3pPr>
            <a:lvl4pPr lvl="3" algn="l">
              <a:spcBef>
                <a:spcPts val="360"/>
              </a:spcBef>
              <a:spcAft>
                <a:spcPts val="0"/>
              </a:spcAft>
              <a:buClr>
                <a:schemeClr val="lt1"/>
              </a:buClr>
              <a:buSzPts val="1800"/>
              <a:buChar char="–"/>
              <a:defRPr/>
            </a:lvl4pPr>
            <a:lvl5pPr lvl="4" algn="l">
              <a:spcBef>
                <a:spcPts val="360"/>
              </a:spcBef>
              <a:spcAft>
                <a:spcPts val="0"/>
              </a:spcAft>
              <a:buSzPts val="1800"/>
              <a:buChar char="•"/>
              <a:defRPr/>
            </a:lvl5pPr>
            <a:lvl6pPr lvl="5" algn="l">
              <a:lnSpc>
                <a:spcPct val="90000"/>
              </a:lnSpc>
              <a:spcBef>
                <a:spcPts val="500"/>
              </a:spcBef>
              <a:spcAft>
                <a:spcPts val="0"/>
              </a:spcAft>
              <a:buClr>
                <a:schemeClr val="lt1"/>
              </a:buClr>
              <a:buSzPts val="1800"/>
              <a:buChar char="•"/>
              <a:defRPr/>
            </a:lvl6pPr>
            <a:lvl7pPr lvl="6" algn="l">
              <a:lnSpc>
                <a:spcPct val="90000"/>
              </a:lnSpc>
              <a:spcBef>
                <a:spcPts val="500"/>
              </a:spcBef>
              <a:spcAft>
                <a:spcPts val="0"/>
              </a:spcAft>
              <a:buClr>
                <a:schemeClr val="lt1"/>
              </a:buClr>
              <a:buSzPts val="1800"/>
              <a:buChar char="•"/>
              <a:defRPr/>
            </a:lvl7pPr>
            <a:lvl8pPr lvl="7" algn="l">
              <a:lnSpc>
                <a:spcPct val="90000"/>
              </a:lnSpc>
              <a:spcBef>
                <a:spcPts val="500"/>
              </a:spcBef>
              <a:spcAft>
                <a:spcPts val="0"/>
              </a:spcAft>
              <a:buClr>
                <a:schemeClr val="lt1"/>
              </a:buClr>
              <a:buSzPts val="1800"/>
              <a:buChar char="•"/>
              <a:defRPr/>
            </a:lvl8pPr>
            <a:lvl9pPr lvl="8" algn="l">
              <a:lnSpc>
                <a:spcPct val="90000"/>
              </a:lnSpc>
              <a:spcBef>
                <a:spcPts val="500"/>
              </a:spcBef>
              <a:spcAft>
                <a:spcPts val="0"/>
              </a:spcAft>
              <a:buClr>
                <a:schemeClr val="lt1"/>
              </a:buClr>
              <a:buSzPts val="1800"/>
              <a:buChar char="•"/>
              <a:defRPr/>
            </a:lvl9pPr>
          </a:lstStyle>
          <a:p>
            <a:endParaRPr/>
          </a:p>
        </p:txBody>
      </p:sp>
      <p:sp>
        <p:nvSpPr>
          <p:cNvPr id="21" name="Google Shape;21;p22"/>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22"/>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2"/>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714396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
        <p:cNvGrpSpPr/>
        <p:nvPr/>
      </p:nvGrpSpPr>
      <p:grpSpPr>
        <a:xfrm>
          <a:off x="0" y="0"/>
          <a:ext cx="0" cy="0"/>
          <a:chOff x="0" y="0"/>
          <a:chExt cx="0" cy="0"/>
        </a:xfrm>
      </p:grpSpPr>
      <p:sp>
        <p:nvSpPr>
          <p:cNvPr id="35" name="Google Shape;35;p24"/>
          <p:cNvSpPr txBox="1">
            <a:spLocks noGrp="1"/>
          </p:cNvSpPr>
          <p:nvPr>
            <p:ph type="title"/>
          </p:nvPr>
        </p:nvSpPr>
        <p:spPr>
          <a:xfrm>
            <a:off x="914400" y="609600"/>
            <a:ext cx="10363200" cy="1143000"/>
          </a:xfrm>
          <a:prstGeom prst="rect">
            <a:avLst/>
          </a:prstGeom>
          <a:noFill/>
          <a:ln>
            <a:noFill/>
          </a:ln>
        </p:spPr>
        <p:txBody>
          <a:bodyPr spcFirstLastPara="1" wrap="square" lIns="92075" tIns="46025" rIns="92075" bIns="460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24"/>
          <p:cNvSpPr txBox="1">
            <a:spLocks noGrp="1"/>
          </p:cNvSpPr>
          <p:nvPr>
            <p:ph type="body" idx="1"/>
          </p:nvPr>
        </p:nvSpPr>
        <p:spPr>
          <a:xfrm>
            <a:off x="914400" y="1981200"/>
            <a:ext cx="10363200" cy="4114800"/>
          </a:xfrm>
          <a:prstGeom prst="rect">
            <a:avLst/>
          </a:prstGeom>
          <a:noFill/>
          <a:ln>
            <a:noFill/>
          </a:ln>
        </p:spPr>
        <p:txBody>
          <a:bodyPr spcFirstLastPara="1" wrap="square" lIns="92075" tIns="46025" rIns="92075" bIns="46025" anchor="t" anchorCtr="0">
            <a:noAutofit/>
          </a:bodyPr>
          <a:lstStyle>
            <a:lvl1pPr marL="457200" lvl="0" indent="-320040" algn="l">
              <a:spcBef>
                <a:spcPts val="360"/>
              </a:spcBef>
              <a:spcAft>
                <a:spcPts val="0"/>
              </a:spcAft>
              <a:buSzPts val="144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37" name="Google Shape;37;p24"/>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24"/>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24"/>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772130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0"/>
        <p:cNvGrpSpPr/>
        <p:nvPr/>
      </p:nvGrpSpPr>
      <p:grpSpPr>
        <a:xfrm>
          <a:off x="0" y="0"/>
          <a:ext cx="0" cy="0"/>
          <a:chOff x="0" y="0"/>
          <a:chExt cx="0" cy="0"/>
        </a:xfrm>
      </p:grpSpPr>
      <p:sp>
        <p:nvSpPr>
          <p:cNvPr id="41" name="Google Shape;41;p25"/>
          <p:cNvSpPr txBox="1">
            <a:spLocks noGrp="1"/>
          </p:cNvSpPr>
          <p:nvPr>
            <p:ph type="title"/>
          </p:nvPr>
        </p:nvSpPr>
        <p:spPr>
          <a:xfrm>
            <a:off x="914400" y="609600"/>
            <a:ext cx="10363200" cy="1143000"/>
          </a:xfrm>
          <a:prstGeom prst="rect">
            <a:avLst/>
          </a:prstGeom>
          <a:noFill/>
          <a:ln>
            <a:noFill/>
          </a:ln>
        </p:spPr>
        <p:txBody>
          <a:bodyPr spcFirstLastPara="1" wrap="square" lIns="92075" tIns="46025" rIns="92075" bIns="460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25"/>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25"/>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 name="Google Shape;44;p25"/>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2548340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5"/>
        <p:cNvGrpSpPr/>
        <p:nvPr/>
      </p:nvGrpSpPr>
      <p:grpSpPr>
        <a:xfrm>
          <a:off x="0" y="0"/>
          <a:ext cx="0" cy="0"/>
          <a:chOff x="0" y="0"/>
          <a:chExt cx="0" cy="0"/>
        </a:xfrm>
      </p:grpSpPr>
      <p:sp>
        <p:nvSpPr>
          <p:cNvPr id="46" name="Google Shape;46;p26"/>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26"/>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26"/>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5601580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49"/>
        <p:cNvGrpSpPr/>
        <p:nvPr/>
      </p:nvGrpSpPr>
      <p:grpSpPr>
        <a:xfrm>
          <a:off x="0" y="0"/>
          <a:ext cx="0" cy="0"/>
          <a:chOff x="0" y="0"/>
          <a:chExt cx="0" cy="0"/>
        </a:xfrm>
      </p:grpSpPr>
      <p:sp>
        <p:nvSpPr>
          <p:cNvPr id="50" name="Google Shape;50;p27"/>
          <p:cNvSpPr txBox="1">
            <a:spLocks noGrp="1"/>
          </p:cNvSpPr>
          <p:nvPr>
            <p:ph type="title"/>
          </p:nvPr>
        </p:nvSpPr>
        <p:spPr>
          <a:xfrm rot="5400000">
            <a:off x="7239000" y="2057400"/>
            <a:ext cx="5486400" cy="2590800"/>
          </a:xfrm>
          <a:prstGeom prst="rect">
            <a:avLst/>
          </a:prstGeom>
          <a:noFill/>
          <a:ln>
            <a:noFill/>
          </a:ln>
        </p:spPr>
        <p:txBody>
          <a:bodyPr spcFirstLastPara="1" wrap="square" lIns="92075" tIns="46025" rIns="92075" bIns="460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27"/>
          <p:cNvSpPr txBox="1">
            <a:spLocks noGrp="1"/>
          </p:cNvSpPr>
          <p:nvPr>
            <p:ph type="body" idx="1"/>
          </p:nvPr>
        </p:nvSpPr>
        <p:spPr>
          <a:xfrm rot="5400000">
            <a:off x="1955800" y="-431800"/>
            <a:ext cx="5486400" cy="7569200"/>
          </a:xfrm>
          <a:prstGeom prst="rect">
            <a:avLst/>
          </a:prstGeom>
          <a:noFill/>
          <a:ln>
            <a:noFill/>
          </a:ln>
        </p:spPr>
        <p:txBody>
          <a:bodyPr spcFirstLastPara="1" wrap="square" lIns="92075" tIns="46025" rIns="92075" bIns="46025" anchor="t" anchorCtr="0">
            <a:noAutofit/>
          </a:bodyPr>
          <a:lstStyle>
            <a:lvl1pPr marL="457200" lvl="0" indent="-320040" algn="l">
              <a:spcBef>
                <a:spcPts val="360"/>
              </a:spcBef>
              <a:spcAft>
                <a:spcPts val="0"/>
              </a:spcAft>
              <a:buSzPts val="144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52" name="Google Shape;52;p27"/>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27"/>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 name="Google Shape;54;p27"/>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55607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55"/>
        <p:cNvGrpSpPr/>
        <p:nvPr/>
      </p:nvGrpSpPr>
      <p:grpSpPr>
        <a:xfrm>
          <a:off x="0" y="0"/>
          <a:ext cx="0" cy="0"/>
          <a:chOff x="0" y="0"/>
          <a:chExt cx="0" cy="0"/>
        </a:xfrm>
      </p:grpSpPr>
      <p:sp>
        <p:nvSpPr>
          <p:cNvPr id="56" name="Google Shape;56;p28"/>
          <p:cNvSpPr txBox="1">
            <a:spLocks noGrp="1"/>
          </p:cNvSpPr>
          <p:nvPr>
            <p:ph type="title"/>
          </p:nvPr>
        </p:nvSpPr>
        <p:spPr>
          <a:xfrm>
            <a:off x="914400" y="609600"/>
            <a:ext cx="10363200" cy="1143000"/>
          </a:xfrm>
          <a:prstGeom prst="rect">
            <a:avLst/>
          </a:prstGeom>
          <a:noFill/>
          <a:ln>
            <a:noFill/>
          </a:ln>
        </p:spPr>
        <p:txBody>
          <a:bodyPr spcFirstLastPara="1" wrap="square" lIns="92075" tIns="46025" rIns="92075" bIns="460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28"/>
          <p:cNvSpPr txBox="1">
            <a:spLocks noGrp="1"/>
          </p:cNvSpPr>
          <p:nvPr>
            <p:ph type="body" idx="1"/>
          </p:nvPr>
        </p:nvSpPr>
        <p:spPr>
          <a:xfrm rot="5400000">
            <a:off x="4038600" y="-1143000"/>
            <a:ext cx="4114800" cy="10363200"/>
          </a:xfrm>
          <a:prstGeom prst="rect">
            <a:avLst/>
          </a:prstGeom>
          <a:noFill/>
          <a:ln>
            <a:noFill/>
          </a:ln>
        </p:spPr>
        <p:txBody>
          <a:bodyPr spcFirstLastPara="1" wrap="square" lIns="92075" tIns="46025" rIns="92075" bIns="46025" anchor="t" anchorCtr="0">
            <a:noAutofit/>
          </a:bodyPr>
          <a:lstStyle>
            <a:lvl1pPr marL="457200" lvl="0" indent="-320040" algn="l">
              <a:spcBef>
                <a:spcPts val="360"/>
              </a:spcBef>
              <a:spcAft>
                <a:spcPts val="0"/>
              </a:spcAft>
              <a:buSzPts val="144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58" name="Google Shape;58;p28"/>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28"/>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28"/>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0887724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1"/>
        <p:cNvGrpSpPr/>
        <p:nvPr/>
      </p:nvGrpSpPr>
      <p:grpSpPr>
        <a:xfrm>
          <a:off x="0" y="0"/>
          <a:ext cx="0" cy="0"/>
          <a:chOff x="0" y="0"/>
          <a:chExt cx="0" cy="0"/>
        </a:xfrm>
      </p:grpSpPr>
      <p:sp>
        <p:nvSpPr>
          <p:cNvPr id="62" name="Google Shape;62;p29"/>
          <p:cNvSpPr txBox="1">
            <a:spLocks noGrp="1"/>
          </p:cNvSpPr>
          <p:nvPr>
            <p:ph type="title"/>
          </p:nvPr>
        </p:nvSpPr>
        <p:spPr>
          <a:xfrm>
            <a:off x="840318" y="457200"/>
            <a:ext cx="3932767" cy="1600200"/>
          </a:xfrm>
          <a:prstGeom prst="rect">
            <a:avLst/>
          </a:prstGeom>
          <a:noFill/>
          <a:ln>
            <a:noFill/>
          </a:ln>
        </p:spPr>
        <p:txBody>
          <a:bodyPr spcFirstLastPara="1" wrap="square" lIns="92075" tIns="46025" rIns="92075" bIns="46025" anchor="b" anchorCtr="0">
            <a:noAutofit/>
          </a:bodyPr>
          <a:lstStyle>
            <a:lvl1pPr lvl="0" algn="l">
              <a:spcBef>
                <a:spcPts val="0"/>
              </a:spcBef>
              <a:spcAft>
                <a:spcPts val="0"/>
              </a:spcAft>
              <a:buSzPts val="1400"/>
              <a:buNone/>
              <a:defRPr sz="32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29"/>
          <p:cNvSpPr>
            <a:spLocks noGrp="1"/>
          </p:cNvSpPr>
          <p:nvPr>
            <p:ph type="pic" idx="2"/>
          </p:nvPr>
        </p:nvSpPr>
        <p:spPr>
          <a:xfrm>
            <a:off x="5183717" y="987426"/>
            <a:ext cx="6172200" cy="4873625"/>
          </a:xfrm>
          <a:prstGeom prst="rect">
            <a:avLst/>
          </a:prstGeom>
          <a:noFill/>
          <a:ln>
            <a:noFill/>
          </a:ln>
        </p:spPr>
      </p:sp>
      <p:sp>
        <p:nvSpPr>
          <p:cNvPr id="64" name="Google Shape;64;p29"/>
          <p:cNvSpPr txBox="1">
            <a:spLocks noGrp="1"/>
          </p:cNvSpPr>
          <p:nvPr>
            <p:ph type="body" idx="1"/>
          </p:nvPr>
        </p:nvSpPr>
        <p:spPr>
          <a:xfrm>
            <a:off x="840318" y="2057400"/>
            <a:ext cx="3932767" cy="3811588"/>
          </a:xfrm>
          <a:prstGeom prst="rect">
            <a:avLst/>
          </a:prstGeom>
          <a:noFill/>
          <a:ln>
            <a:noFill/>
          </a:ln>
        </p:spPr>
        <p:txBody>
          <a:bodyPr spcFirstLastPara="1" wrap="square" lIns="92075" tIns="46025" rIns="92075" bIns="46025" anchor="t" anchorCtr="0">
            <a:noAutofit/>
          </a:bodyPr>
          <a:lstStyle>
            <a:lvl1pPr marL="457200" lvl="0" indent="-228600" algn="l">
              <a:spcBef>
                <a:spcPts val="320"/>
              </a:spcBef>
              <a:spcAft>
                <a:spcPts val="0"/>
              </a:spcAft>
              <a:buSzPts val="1280"/>
              <a:buNone/>
              <a:defRPr sz="1600"/>
            </a:lvl1pPr>
            <a:lvl2pPr marL="914400" lvl="1" indent="-228600" algn="l">
              <a:spcBef>
                <a:spcPts val="280"/>
              </a:spcBef>
              <a:spcAft>
                <a:spcPts val="0"/>
              </a:spcAft>
              <a:buClr>
                <a:schemeClr val="lt1"/>
              </a:buClr>
              <a:buSzPts val="1400"/>
              <a:buFont typeface="Arial"/>
              <a:buNone/>
              <a:defRPr sz="1400"/>
            </a:lvl2pPr>
            <a:lvl3pPr marL="1371600" lvl="2" indent="-228600" algn="l">
              <a:spcBef>
                <a:spcPts val="240"/>
              </a:spcBef>
              <a:spcAft>
                <a:spcPts val="0"/>
              </a:spcAft>
              <a:buSzPts val="1200"/>
              <a:buFont typeface="Arial"/>
              <a:buNone/>
              <a:defRPr sz="1200"/>
            </a:lvl3pPr>
            <a:lvl4pPr marL="1828800" lvl="3" indent="-228600" algn="l">
              <a:spcBef>
                <a:spcPts val="200"/>
              </a:spcBef>
              <a:spcAft>
                <a:spcPts val="0"/>
              </a:spcAft>
              <a:buClr>
                <a:schemeClr val="lt1"/>
              </a:buClr>
              <a:buSzPts val="1000"/>
              <a:buFont typeface="Arial"/>
              <a:buNone/>
              <a:defRPr sz="1000"/>
            </a:lvl4pPr>
            <a:lvl5pPr marL="2286000" lvl="4" indent="-228600" algn="l">
              <a:spcBef>
                <a:spcPts val="200"/>
              </a:spcBef>
              <a:spcAft>
                <a:spcPts val="0"/>
              </a:spcAft>
              <a:buSzPts val="1000"/>
              <a:buFont typeface="Arial"/>
              <a:buNone/>
              <a:defRPr sz="1000"/>
            </a:lvl5pPr>
            <a:lvl6pPr marL="2743200" lvl="5" indent="-228600" algn="l">
              <a:lnSpc>
                <a:spcPct val="90000"/>
              </a:lnSpc>
              <a:spcBef>
                <a:spcPts val="500"/>
              </a:spcBef>
              <a:spcAft>
                <a:spcPts val="0"/>
              </a:spcAft>
              <a:buClr>
                <a:schemeClr val="lt1"/>
              </a:buClr>
              <a:buSzPts val="1000"/>
              <a:buNone/>
              <a:defRPr sz="1000"/>
            </a:lvl6pPr>
            <a:lvl7pPr marL="3200400" lvl="6" indent="-228600" algn="l">
              <a:lnSpc>
                <a:spcPct val="90000"/>
              </a:lnSpc>
              <a:spcBef>
                <a:spcPts val="500"/>
              </a:spcBef>
              <a:spcAft>
                <a:spcPts val="0"/>
              </a:spcAft>
              <a:buClr>
                <a:schemeClr val="lt1"/>
              </a:buClr>
              <a:buSzPts val="1000"/>
              <a:buNone/>
              <a:defRPr sz="1000"/>
            </a:lvl7pPr>
            <a:lvl8pPr marL="3657600" lvl="7" indent="-228600" algn="l">
              <a:lnSpc>
                <a:spcPct val="90000"/>
              </a:lnSpc>
              <a:spcBef>
                <a:spcPts val="500"/>
              </a:spcBef>
              <a:spcAft>
                <a:spcPts val="0"/>
              </a:spcAft>
              <a:buClr>
                <a:schemeClr val="lt1"/>
              </a:buClr>
              <a:buSzPts val="1000"/>
              <a:buNone/>
              <a:defRPr sz="1000"/>
            </a:lvl8pPr>
            <a:lvl9pPr marL="4114800" lvl="8" indent="-228600" algn="l">
              <a:lnSpc>
                <a:spcPct val="90000"/>
              </a:lnSpc>
              <a:spcBef>
                <a:spcPts val="500"/>
              </a:spcBef>
              <a:spcAft>
                <a:spcPts val="0"/>
              </a:spcAft>
              <a:buClr>
                <a:schemeClr val="lt1"/>
              </a:buClr>
              <a:buSzPts val="1000"/>
              <a:buNone/>
              <a:defRPr sz="1000"/>
            </a:lvl9pPr>
          </a:lstStyle>
          <a:p>
            <a:endParaRPr/>
          </a:p>
        </p:txBody>
      </p:sp>
      <p:sp>
        <p:nvSpPr>
          <p:cNvPr id="65" name="Google Shape;65;p29"/>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29"/>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 name="Google Shape;67;p29"/>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150244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8"/>
        <p:cNvGrpSpPr/>
        <p:nvPr/>
      </p:nvGrpSpPr>
      <p:grpSpPr>
        <a:xfrm>
          <a:off x="0" y="0"/>
          <a:ext cx="0" cy="0"/>
          <a:chOff x="0" y="0"/>
          <a:chExt cx="0" cy="0"/>
        </a:xfrm>
      </p:grpSpPr>
      <p:sp>
        <p:nvSpPr>
          <p:cNvPr id="69" name="Google Shape;69;p30"/>
          <p:cNvSpPr txBox="1">
            <a:spLocks noGrp="1"/>
          </p:cNvSpPr>
          <p:nvPr>
            <p:ph type="title"/>
          </p:nvPr>
        </p:nvSpPr>
        <p:spPr>
          <a:xfrm>
            <a:off x="840318" y="457200"/>
            <a:ext cx="3932767" cy="1600200"/>
          </a:xfrm>
          <a:prstGeom prst="rect">
            <a:avLst/>
          </a:prstGeom>
          <a:noFill/>
          <a:ln>
            <a:noFill/>
          </a:ln>
        </p:spPr>
        <p:txBody>
          <a:bodyPr spcFirstLastPara="1" wrap="square" lIns="92075" tIns="46025" rIns="92075" bIns="46025" anchor="b" anchorCtr="0">
            <a:noAutofit/>
          </a:bodyPr>
          <a:lstStyle>
            <a:lvl1pPr lvl="0" algn="l">
              <a:spcBef>
                <a:spcPts val="0"/>
              </a:spcBef>
              <a:spcAft>
                <a:spcPts val="0"/>
              </a:spcAft>
              <a:buSzPts val="1400"/>
              <a:buNone/>
              <a:defRPr sz="32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30"/>
          <p:cNvSpPr txBox="1">
            <a:spLocks noGrp="1"/>
          </p:cNvSpPr>
          <p:nvPr>
            <p:ph type="body" idx="1"/>
          </p:nvPr>
        </p:nvSpPr>
        <p:spPr>
          <a:xfrm>
            <a:off x="5183717" y="987426"/>
            <a:ext cx="6172200" cy="4873625"/>
          </a:xfrm>
          <a:prstGeom prst="rect">
            <a:avLst/>
          </a:prstGeom>
          <a:noFill/>
          <a:ln>
            <a:noFill/>
          </a:ln>
        </p:spPr>
        <p:txBody>
          <a:bodyPr spcFirstLastPara="1" wrap="square" lIns="92075" tIns="46025" rIns="92075" bIns="46025" anchor="t" anchorCtr="0">
            <a:noAutofit/>
          </a:bodyPr>
          <a:lstStyle>
            <a:lvl1pPr marL="457200" lvl="0" indent="-391160" algn="l">
              <a:spcBef>
                <a:spcPts val="640"/>
              </a:spcBef>
              <a:spcAft>
                <a:spcPts val="0"/>
              </a:spcAft>
              <a:buSzPts val="2560"/>
              <a:buChar char="●"/>
              <a:defRPr sz="3200"/>
            </a:lvl1pPr>
            <a:lvl2pPr marL="914400" lvl="1" indent="-406400" algn="l">
              <a:spcBef>
                <a:spcPts val="560"/>
              </a:spcBef>
              <a:spcAft>
                <a:spcPts val="0"/>
              </a:spcAft>
              <a:buClr>
                <a:schemeClr val="lt1"/>
              </a:buClr>
              <a:buSzPts val="2800"/>
              <a:buFont typeface="Arial"/>
              <a:buChar char="–"/>
              <a:defRPr sz="2800"/>
            </a:lvl2pPr>
            <a:lvl3pPr marL="1371600" lvl="2" indent="-381000" algn="l">
              <a:spcBef>
                <a:spcPts val="480"/>
              </a:spcBef>
              <a:spcAft>
                <a:spcPts val="0"/>
              </a:spcAft>
              <a:buSzPts val="2400"/>
              <a:buFont typeface="Arial"/>
              <a:buChar char="•"/>
              <a:defRPr sz="2400"/>
            </a:lvl3pPr>
            <a:lvl4pPr marL="1828800" lvl="3" indent="-355600" algn="l">
              <a:spcBef>
                <a:spcPts val="400"/>
              </a:spcBef>
              <a:spcAft>
                <a:spcPts val="0"/>
              </a:spcAft>
              <a:buClr>
                <a:schemeClr val="lt1"/>
              </a:buClr>
              <a:buSzPts val="2000"/>
              <a:buFont typeface="Arial"/>
              <a:buChar char="–"/>
              <a:defRPr sz="2000"/>
            </a:lvl4pPr>
            <a:lvl5pPr marL="2286000" lvl="4" indent="-355600" algn="l">
              <a:spcBef>
                <a:spcPts val="400"/>
              </a:spcBef>
              <a:spcAft>
                <a:spcPts val="0"/>
              </a:spcAft>
              <a:buSzPts val="2000"/>
              <a:buFont typeface="Arial"/>
              <a:buChar char="•"/>
              <a:defRPr sz="2000"/>
            </a:lvl5pPr>
            <a:lvl6pPr marL="2743200" lvl="5" indent="-355600" algn="l">
              <a:lnSpc>
                <a:spcPct val="90000"/>
              </a:lnSpc>
              <a:spcBef>
                <a:spcPts val="500"/>
              </a:spcBef>
              <a:spcAft>
                <a:spcPts val="0"/>
              </a:spcAft>
              <a:buClr>
                <a:schemeClr val="lt1"/>
              </a:buClr>
              <a:buSzPts val="2000"/>
              <a:buChar char="•"/>
              <a:defRPr sz="2000"/>
            </a:lvl6pPr>
            <a:lvl7pPr marL="3200400" lvl="6" indent="-355600" algn="l">
              <a:lnSpc>
                <a:spcPct val="90000"/>
              </a:lnSpc>
              <a:spcBef>
                <a:spcPts val="500"/>
              </a:spcBef>
              <a:spcAft>
                <a:spcPts val="0"/>
              </a:spcAft>
              <a:buClr>
                <a:schemeClr val="lt1"/>
              </a:buClr>
              <a:buSzPts val="2000"/>
              <a:buChar char="•"/>
              <a:defRPr sz="2000"/>
            </a:lvl7pPr>
            <a:lvl8pPr marL="3657600" lvl="7" indent="-355600" algn="l">
              <a:lnSpc>
                <a:spcPct val="90000"/>
              </a:lnSpc>
              <a:spcBef>
                <a:spcPts val="500"/>
              </a:spcBef>
              <a:spcAft>
                <a:spcPts val="0"/>
              </a:spcAft>
              <a:buClr>
                <a:schemeClr val="lt1"/>
              </a:buClr>
              <a:buSzPts val="2000"/>
              <a:buChar char="•"/>
              <a:defRPr sz="2000"/>
            </a:lvl8pPr>
            <a:lvl9pPr marL="4114800" lvl="8" indent="-355600" algn="l">
              <a:lnSpc>
                <a:spcPct val="90000"/>
              </a:lnSpc>
              <a:spcBef>
                <a:spcPts val="500"/>
              </a:spcBef>
              <a:spcAft>
                <a:spcPts val="0"/>
              </a:spcAft>
              <a:buClr>
                <a:schemeClr val="lt1"/>
              </a:buClr>
              <a:buSzPts val="2000"/>
              <a:buChar char="•"/>
              <a:defRPr sz="2000"/>
            </a:lvl9pPr>
          </a:lstStyle>
          <a:p>
            <a:endParaRPr/>
          </a:p>
        </p:txBody>
      </p:sp>
      <p:sp>
        <p:nvSpPr>
          <p:cNvPr id="71" name="Google Shape;71;p30"/>
          <p:cNvSpPr txBox="1">
            <a:spLocks noGrp="1"/>
          </p:cNvSpPr>
          <p:nvPr>
            <p:ph type="body" idx="2"/>
          </p:nvPr>
        </p:nvSpPr>
        <p:spPr>
          <a:xfrm>
            <a:off x="840318" y="2057400"/>
            <a:ext cx="3932767" cy="3811588"/>
          </a:xfrm>
          <a:prstGeom prst="rect">
            <a:avLst/>
          </a:prstGeom>
          <a:noFill/>
          <a:ln>
            <a:noFill/>
          </a:ln>
        </p:spPr>
        <p:txBody>
          <a:bodyPr spcFirstLastPara="1" wrap="square" lIns="92075" tIns="46025" rIns="92075" bIns="46025" anchor="t" anchorCtr="0">
            <a:noAutofit/>
          </a:bodyPr>
          <a:lstStyle>
            <a:lvl1pPr marL="457200" lvl="0" indent="-228600" algn="l">
              <a:spcBef>
                <a:spcPts val="320"/>
              </a:spcBef>
              <a:spcAft>
                <a:spcPts val="0"/>
              </a:spcAft>
              <a:buSzPts val="1280"/>
              <a:buNone/>
              <a:defRPr sz="1600"/>
            </a:lvl1pPr>
            <a:lvl2pPr marL="914400" lvl="1" indent="-228600" algn="l">
              <a:spcBef>
                <a:spcPts val="280"/>
              </a:spcBef>
              <a:spcAft>
                <a:spcPts val="0"/>
              </a:spcAft>
              <a:buClr>
                <a:schemeClr val="lt1"/>
              </a:buClr>
              <a:buSzPts val="1400"/>
              <a:buFont typeface="Arial"/>
              <a:buNone/>
              <a:defRPr sz="1400"/>
            </a:lvl2pPr>
            <a:lvl3pPr marL="1371600" lvl="2" indent="-228600" algn="l">
              <a:spcBef>
                <a:spcPts val="240"/>
              </a:spcBef>
              <a:spcAft>
                <a:spcPts val="0"/>
              </a:spcAft>
              <a:buSzPts val="1200"/>
              <a:buFont typeface="Arial"/>
              <a:buNone/>
              <a:defRPr sz="1200"/>
            </a:lvl3pPr>
            <a:lvl4pPr marL="1828800" lvl="3" indent="-228600" algn="l">
              <a:spcBef>
                <a:spcPts val="200"/>
              </a:spcBef>
              <a:spcAft>
                <a:spcPts val="0"/>
              </a:spcAft>
              <a:buClr>
                <a:schemeClr val="lt1"/>
              </a:buClr>
              <a:buSzPts val="1000"/>
              <a:buFont typeface="Arial"/>
              <a:buNone/>
              <a:defRPr sz="1000"/>
            </a:lvl4pPr>
            <a:lvl5pPr marL="2286000" lvl="4" indent="-228600" algn="l">
              <a:spcBef>
                <a:spcPts val="200"/>
              </a:spcBef>
              <a:spcAft>
                <a:spcPts val="0"/>
              </a:spcAft>
              <a:buSzPts val="1000"/>
              <a:buFont typeface="Arial"/>
              <a:buNone/>
              <a:defRPr sz="1000"/>
            </a:lvl5pPr>
            <a:lvl6pPr marL="2743200" lvl="5" indent="-228600" algn="l">
              <a:lnSpc>
                <a:spcPct val="90000"/>
              </a:lnSpc>
              <a:spcBef>
                <a:spcPts val="500"/>
              </a:spcBef>
              <a:spcAft>
                <a:spcPts val="0"/>
              </a:spcAft>
              <a:buClr>
                <a:schemeClr val="lt1"/>
              </a:buClr>
              <a:buSzPts val="1000"/>
              <a:buNone/>
              <a:defRPr sz="1000"/>
            </a:lvl6pPr>
            <a:lvl7pPr marL="3200400" lvl="6" indent="-228600" algn="l">
              <a:lnSpc>
                <a:spcPct val="90000"/>
              </a:lnSpc>
              <a:spcBef>
                <a:spcPts val="500"/>
              </a:spcBef>
              <a:spcAft>
                <a:spcPts val="0"/>
              </a:spcAft>
              <a:buClr>
                <a:schemeClr val="lt1"/>
              </a:buClr>
              <a:buSzPts val="1000"/>
              <a:buNone/>
              <a:defRPr sz="1000"/>
            </a:lvl7pPr>
            <a:lvl8pPr marL="3657600" lvl="7" indent="-228600" algn="l">
              <a:lnSpc>
                <a:spcPct val="90000"/>
              </a:lnSpc>
              <a:spcBef>
                <a:spcPts val="500"/>
              </a:spcBef>
              <a:spcAft>
                <a:spcPts val="0"/>
              </a:spcAft>
              <a:buClr>
                <a:schemeClr val="lt1"/>
              </a:buClr>
              <a:buSzPts val="1000"/>
              <a:buNone/>
              <a:defRPr sz="1000"/>
            </a:lvl8pPr>
            <a:lvl9pPr marL="4114800" lvl="8" indent="-228600" algn="l">
              <a:lnSpc>
                <a:spcPct val="90000"/>
              </a:lnSpc>
              <a:spcBef>
                <a:spcPts val="500"/>
              </a:spcBef>
              <a:spcAft>
                <a:spcPts val="0"/>
              </a:spcAft>
              <a:buClr>
                <a:schemeClr val="lt1"/>
              </a:buClr>
              <a:buSzPts val="1000"/>
              <a:buNone/>
              <a:defRPr sz="1000"/>
            </a:lvl9pPr>
          </a:lstStyle>
          <a:p>
            <a:endParaRPr/>
          </a:p>
        </p:txBody>
      </p:sp>
      <p:sp>
        <p:nvSpPr>
          <p:cNvPr id="72" name="Google Shape;72;p30"/>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30"/>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30"/>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778695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75"/>
        <p:cNvGrpSpPr/>
        <p:nvPr/>
      </p:nvGrpSpPr>
      <p:grpSpPr>
        <a:xfrm>
          <a:off x="0" y="0"/>
          <a:ext cx="0" cy="0"/>
          <a:chOff x="0" y="0"/>
          <a:chExt cx="0" cy="0"/>
        </a:xfrm>
      </p:grpSpPr>
      <p:sp>
        <p:nvSpPr>
          <p:cNvPr id="76" name="Google Shape;76;p31"/>
          <p:cNvSpPr txBox="1">
            <a:spLocks noGrp="1"/>
          </p:cNvSpPr>
          <p:nvPr>
            <p:ph type="title"/>
          </p:nvPr>
        </p:nvSpPr>
        <p:spPr>
          <a:xfrm>
            <a:off x="840317" y="365126"/>
            <a:ext cx="10515600" cy="1325563"/>
          </a:xfrm>
          <a:prstGeom prst="rect">
            <a:avLst/>
          </a:prstGeom>
          <a:noFill/>
          <a:ln>
            <a:noFill/>
          </a:ln>
        </p:spPr>
        <p:txBody>
          <a:bodyPr spcFirstLastPara="1" wrap="square" lIns="92075" tIns="46025" rIns="92075" bIns="460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31"/>
          <p:cNvSpPr txBox="1">
            <a:spLocks noGrp="1"/>
          </p:cNvSpPr>
          <p:nvPr>
            <p:ph type="body" idx="1"/>
          </p:nvPr>
        </p:nvSpPr>
        <p:spPr>
          <a:xfrm>
            <a:off x="840318" y="1681163"/>
            <a:ext cx="5158316" cy="823912"/>
          </a:xfrm>
          <a:prstGeom prst="rect">
            <a:avLst/>
          </a:prstGeom>
          <a:noFill/>
          <a:ln>
            <a:noFill/>
          </a:ln>
        </p:spPr>
        <p:txBody>
          <a:bodyPr spcFirstLastPara="1" wrap="square" lIns="92075" tIns="46025" rIns="92075" bIns="46025" anchor="b" anchorCtr="0">
            <a:noAutofit/>
          </a:bodyPr>
          <a:lstStyle>
            <a:lvl1pPr marL="457200" lvl="0" indent="-228600" algn="l">
              <a:spcBef>
                <a:spcPts val="480"/>
              </a:spcBef>
              <a:spcAft>
                <a:spcPts val="0"/>
              </a:spcAft>
              <a:buSzPts val="1920"/>
              <a:buNone/>
              <a:defRPr sz="2400" b="1"/>
            </a:lvl1pPr>
            <a:lvl2pPr marL="914400" lvl="1" indent="-228600" algn="l">
              <a:spcBef>
                <a:spcPts val="400"/>
              </a:spcBef>
              <a:spcAft>
                <a:spcPts val="0"/>
              </a:spcAft>
              <a:buClr>
                <a:schemeClr val="lt1"/>
              </a:buClr>
              <a:buSzPts val="2000"/>
              <a:buFont typeface="Arial"/>
              <a:buNone/>
              <a:defRPr sz="2000" b="1"/>
            </a:lvl2pPr>
            <a:lvl3pPr marL="1371600" lvl="2" indent="-228600" algn="l">
              <a:spcBef>
                <a:spcPts val="360"/>
              </a:spcBef>
              <a:spcAft>
                <a:spcPts val="0"/>
              </a:spcAft>
              <a:buSzPts val="1800"/>
              <a:buFont typeface="Arial"/>
              <a:buNone/>
              <a:defRPr sz="1800" b="1"/>
            </a:lvl3pPr>
            <a:lvl4pPr marL="1828800" lvl="3" indent="-228600" algn="l">
              <a:spcBef>
                <a:spcPts val="320"/>
              </a:spcBef>
              <a:spcAft>
                <a:spcPts val="0"/>
              </a:spcAft>
              <a:buClr>
                <a:schemeClr val="lt1"/>
              </a:buClr>
              <a:buSzPts val="1600"/>
              <a:buFont typeface="Arial"/>
              <a:buNone/>
              <a:defRPr sz="1600" b="1"/>
            </a:lvl4pPr>
            <a:lvl5pPr marL="2286000" lvl="4" indent="-228600" algn="l">
              <a:spcBef>
                <a:spcPts val="320"/>
              </a:spcBef>
              <a:spcAft>
                <a:spcPts val="0"/>
              </a:spcAft>
              <a:buSzPts val="1600"/>
              <a:buFont typeface="Arial"/>
              <a:buNone/>
              <a:defRPr sz="1600" b="1"/>
            </a:lvl5pPr>
            <a:lvl6pPr marL="2743200" lvl="5" indent="-228600" algn="l">
              <a:lnSpc>
                <a:spcPct val="90000"/>
              </a:lnSpc>
              <a:spcBef>
                <a:spcPts val="500"/>
              </a:spcBef>
              <a:spcAft>
                <a:spcPts val="0"/>
              </a:spcAft>
              <a:buClr>
                <a:schemeClr val="lt1"/>
              </a:buClr>
              <a:buSzPts val="1600"/>
              <a:buNone/>
              <a:defRPr sz="1600" b="1"/>
            </a:lvl6pPr>
            <a:lvl7pPr marL="3200400" lvl="6" indent="-228600" algn="l">
              <a:lnSpc>
                <a:spcPct val="90000"/>
              </a:lnSpc>
              <a:spcBef>
                <a:spcPts val="500"/>
              </a:spcBef>
              <a:spcAft>
                <a:spcPts val="0"/>
              </a:spcAft>
              <a:buClr>
                <a:schemeClr val="lt1"/>
              </a:buClr>
              <a:buSzPts val="1600"/>
              <a:buNone/>
              <a:defRPr sz="1600" b="1"/>
            </a:lvl7pPr>
            <a:lvl8pPr marL="3657600" lvl="7" indent="-228600" algn="l">
              <a:lnSpc>
                <a:spcPct val="90000"/>
              </a:lnSpc>
              <a:spcBef>
                <a:spcPts val="500"/>
              </a:spcBef>
              <a:spcAft>
                <a:spcPts val="0"/>
              </a:spcAft>
              <a:buClr>
                <a:schemeClr val="lt1"/>
              </a:buClr>
              <a:buSzPts val="1600"/>
              <a:buNone/>
              <a:defRPr sz="1600" b="1"/>
            </a:lvl8pPr>
            <a:lvl9pPr marL="4114800" lvl="8" indent="-228600" algn="l">
              <a:lnSpc>
                <a:spcPct val="90000"/>
              </a:lnSpc>
              <a:spcBef>
                <a:spcPts val="500"/>
              </a:spcBef>
              <a:spcAft>
                <a:spcPts val="0"/>
              </a:spcAft>
              <a:buClr>
                <a:schemeClr val="lt1"/>
              </a:buClr>
              <a:buSzPts val="1600"/>
              <a:buNone/>
              <a:defRPr sz="1600" b="1"/>
            </a:lvl9pPr>
          </a:lstStyle>
          <a:p>
            <a:endParaRPr/>
          </a:p>
        </p:txBody>
      </p:sp>
      <p:sp>
        <p:nvSpPr>
          <p:cNvPr id="78" name="Google Shape;78;p31"/>
          <p:cNvSpPr txBox="1">
            <a:spLocks noGrp="1"/>
          </p:cNvSpPr>
          <p:nvPr>
            <p:ph type="body" idx="2"/>
          </p:nvPr>
        </p:nvSpPr>
        <p:spPr>
          <a:xfrm>
            <a:off x="840318" y="2505075"/>
            <a:ext cx="5158316" cy="3684588"/>
          </a:xfrm>
          <a:prstGeom prst="rect">
            <a:avLst/>
          </a:prstGeom>
          <a:noFill/>
          <a:ln>
            <a:noFill/>
          </a:ln>
        </p:spPr>
        <p:txBody>
          <a:bodyPr spcFirstLastPara="1" wrap="square" lIns="92075" tIns="46025" rIns="92075" bIns="46025" anchor="t" anchorCtr="0">
            <a:noAutofit/>
          </a:bodyPr>
          <a:lstStyle>
            <a:lvl1pPr marL="457200" lvl="0" indent="-320040" algn="l">
              <a:spcBef>
                <a:spcPts val="360"/>
              </a:spcBef>
              <a:spcAft>
                <a:spcPts val="0"/>
              </a:spcAft>
              <a:buSzPts val="144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79" name="Google Shape;79;p31"/>
          <p:cNvSpPr txBox="1">
            <a:spLocks noGrp="1"/>
          </p:cNvSpPr>
          <p:nvPr>
            <p:ph type="body" idx="3"/>
          </p:nvPr>
        </p:nvSpPr>
        <p:spPr>
          <a:xfrm>
            <a:off x="6172200" y="1681163"/>
            <a:ext cx="5183717" cy="823912"/>
          </a:xfrm>
          <a:prstGeom prst="rect">
            <a:avLst/>
          </a:prstGeom>
          <a:noFill/>
          <a:ln>
            <a:noFill/>
          </a:ln>
        </p:spPr>
        <p:txBody>
          <a:bodyPr spcFirstLastPara="1" wrap="square" lIns="92075" tIns="46025" rIns="92075" bIns="46025" anchor="b" anchorCtr="0">
            <a:noAutofit/>
          </a:bodyPr>
          <a:lstStyle>
            <a:lvl1pPr marL="457200" lvl="0" indent="-228600" algn="l">
              <a:spcBef>
                <a:spcPts val="480"/>
              </a:spcBef>
              <a:spcAft>
                <a:spcPts val="0"/>
              </a:spcAft>
              <a:buSzPts val="1920"/>
              <a:buNone/>
              <a:defRPr sz="2400" b="1"/>
            </a:lvl1pPr>
            <a:lvl2pPr marL="914400" lvl="1" indent="-228600" algn="l">
              <a:spcBef>
                <a:spcPts val="400"/>
              </a:spcBef>
              <a:spcAft>
                <a:spcPts val="0"/>
              </a:spcAft>
              <a:buClr>
                <a:schemeClr val="lt1"/>
              </a:buClr>
              <a:buSzPts val="2000"/>
              <a:buFont typeface="Arial"/>
              <a:buNone/>
              <a:defRPr sz="2000" b="1"/>
            </a:lvl2pPr>
            <a:lvl3pPr marL="1371600" lvl="2" indent="-228600" algn="l">
              <a:spcBef>
                <a:spcPts val="360"/>
              </a:spcBef>
              <a:spcAft>
                <a:spcPts val="0"/>
              </a:spcAft>
              <a:buSzPts val="1800"/>
              <a:buFont typeface="Arial"/>
              <a:buNone/>
              <a:defRPr sz="1800" b="1"/>
            </a:lvl3pPr>
            <a:lvl4pPr marL="1828800" lvl="3" indent="-228600" algn="l">
              <a:spcBef>
                <a:spcPts val="320"/>
              </a:spcBef>
              <a:spcAft>
                <a:spcPts val="0"/>
              </a:spcAft>
              <a:buClr>
                <a:schemeClr val="lt1"/>
              </a:buClr>
              <a:buSzPts val="1600"/>
              <a:buFont typeface="Arial"/>
              <a:buNone/>
              <a:defRPr sz="1600" b="1"/>
            </a:lvl4pPr>
            <a:lvl5pPr marL="2286000" lvl="4" indent="-228600" algn="l">
              <a:spcBef>
                <a:spcPts val="320"/>
              </a:spcBef>
              <a:spcAft>
                <a:spcPts val="0"/>
              </a:spcAft>
              <a:buSzPts val="1600"/>
              <a:buFont typeface="Arial"/>
              <a:buNone/>
              <a:defRPr sz="1600" b="1"/>
            </a:lvl5pPr>
            <a:lvl6pPr marL="2743200" lvl="5" indent="-228600" algn="l">
              <a:lnSpc>
                <a:spcPct val="90000"/>
              </a:lnSpc>
              <a:spcBef>
                <a:spcPts val="500"/>
              </a:spcBef>
              <a:spcAft>
                <a:spcPts val="0"/>
              </a:spcAft>
              <a:buClr>
                <a:schemeClr val="lt1"/>
              </a:buClr>
              <a:buSzPts val="1600"/>
              <a:buNone/>
              <a:defRPr sz="1600" b="1"/>
            </a:lvl6pPr>
            <a:lvl7pPr marL="3200400" lvl="6" indent="-228600" algn="l">
              <a:lnSpc>
                <a:spcPct val="90000"/>
              </a:lnSpc>
              <a:spcBef>
                <a:spcPts val="500"/>
              </a:spcBef>
              <a:spcAft>
                <a:spcPts val="0"/>
              </a:spcAft>
              <a:buClr>
                <a:schemeClr val="lt1"/>
              </a:buClr>
              <a:buSzPts val="1600"/>
              <a:buNone/>
              <a:defRPr sz="1600" b="1"/>
            </a:lvl7pPr>
            <a:lvl8pPr marL="3657600" lvl="7" indent="-228600" algn="l">
              <a:lnSpc>
                <a:spcPct val="90000"/>
              </a:lnSpc>
              <a:spcBef>
                <a:spcPts val="500"/>
              </a:spcBef>
              <a:spcAft>
                <a:spcPts val="0"/>
              </a:spcAft>
              <a:buClr>
                <a:schemeClr val="lt1"/>
              </a:buClr>
              <a:buSzPts val="1600"/>
              <a:buNone/>
              <a:defRPr sz="1600" b="1"/>
            </a:lvl8pPr>
            <a:lvl9pPr marL="4114800" lvl="8" indent="-228600" algn="l">
              <a:lnSpc>
                <a:spcPct val="90000"/>
              </a:lnSpc>
              <a:spcBef>
                <a:spcPts val="500"/>
              </a:spcBef>
              <a:spcAft>
                <a:spcPts val="0"/>
              </a:spcAft>
              <a:buClr>
                <a:schemeClr val="lt1"/>
              </a:buClr>
              <a:buSzPts val="1600"/>
              <a:buNone/>
              <a:defRPr sz="1600" b="1"/>
            </a:lvl9pPr>
          </a:lstStyle>
          <a:p>
            <a:endParaRPr/>
          </a:p>
        </p:txBody>
      </p:sp>
      <p:sp>
        <p:nvSpPr>
          <p:cNvPr id="80" name="Google Shape;80;p31"/>
          <p:cNvSpPr txBox="1">
            <a:spLocks noGrp="1"/>
          </p:cNvSpPr>
          <p:nvPr>
            <p:ph type="body" idx="4"/>
          </p:nvPr>
        </p:nvSpPr>
        <p:spPr>
          <a:xfrm>
            <a:off x="6172200" y="2505075"/>
            <a:ext cx="5183717" cy="3684588"/>
          </a:xfrm>
          <a:prstGeom prst="rect">
            <a:avLst/>
          </a:prstGeom>
          <a:noFill/>
          <a:ln>
            <a:noFill/>
          </a:ln>
        </p:spPr>
        <p:txBody>
          <a:bodyPr spcFirstLastPara="1" wrap="square" lIns="92075" tIns="46025" rIns="92075" bIns="46025" anchor="t" anchorCtr="0">
            <a:noAutofit/>
          </a:bodyPr>
          <a:lstStyle>
            <a:lvl1pPr marL="457200" lvl="0" indent="-320040" algn="l">
              <a:spcBef>
                <a:spcPts val="360"/>
              </a:spcBef>
              <a:spcAft>
                <a:spcPts val="0"/>
              </a:spcAft>
              <a:buSzPts val="144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81" name="Google Shape;81;p31"/>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31"/>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 name="Google Shape;83;p31"/>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552418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84"/>
        <p:cNvGrpSpPr/>
        <p:nvPr/>
      </p:nvGrpSpPr>
      <p:grpSpPr>
        <a:xfrm>
          <a:off x="0" y="0"/>
          <a:ext cx="0" cy="0"/>
          <a:chOff x="0" y="0"/>
          <a:chExt cx="0" cy="0"/>
        </a:xfrm>
      </p:grpSpPr>
      <p:sp>
        <p:nvSpPr>
          <p:cNvPr id="85" name="Google Shape;85;p32"/>
          <p:cNvSpPr txBox="1">
            <a:spLocks noGrp="1"/>
          </p:cNvSpPr>
          <p:nvPr>
            <p:ph type="title"/>
          </p:nvPr>
        </p:nvSpPr>
        <p:spPr>
          <a:xfrm>
            <a:off x="914400" y="609600"/>
            <a:ext cx="10363200" cy="1143000"/>
          </a:xfrm>
          <a:prstGeom prst="rect">
            <a:avLst/>
          </a:prstGeom>
          <a:noFill/>
          <a:ln>
            <a:noFill/>
          </a:ln>
        </p:spPr>
        <p:txBody>
          <a:bodyPr spcFirstLastPara="1" wrap="square" lIns="92075" tIns="46025" rIns="92075" bIns="460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32"/>
          <p:cNvSpPr txBox="1">
            <a:spLocks noGrp="1"/>
          </p:cNvSpPr>
          <p:nvPr>
            <p:ph type="body" idx="1"/>
          </p:nvPr>
        </p:nvSpPr>
        <p:spPr>
          <a:xfrm>
            <a:off x="914400" y="1981200"/>
            <a:ext cx="5080000" cy="4114800"/>
          </a:xfrm>
          <a:prstGeom prst="rect">
            <a:avLst/>
          </a:prstGeom>
          <a:noFill/>
          <a:ln>
            <a:noFill/>
          </a:ln>
        </p:spPr>
        <p:txBody>
          <a:bodyPr spcFirstLastPara="1" wrap="square" lIns="92075" tIns="46025" rIns="92075" bIns="46025" anchor="t" anchorCtr="0">
            <a:noAutofit/>
          </a:bodyPr>
          <a:lstStyle>
            <a:lvl1pPr marL="457200" lvl="0" indent="-320040" algn="l">
              <a:spcBef>
                <a:spcPts val="360"/>
              </a:spcBef>
              <a:spcAft>
                <a:spcPts val="0"/>
              </a:spcAft>
              <a:buSzPts val="144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87" name="Google Shape;87;p32"/>
          <p:cNvSpPr txBox="1">
            <a:spLocks noGrp="1"/>
          </p:cNvSpPr>
          <p:nvPr>
            <p:ph type="body" idx="2"/>
          </p:nvPr>
        </p:nvSpPr>
        <p:spPr>
          <a:xfrm>
            <a:off x="6197600" y="1981200"/>
            <a:ext cx="5080000" cy="4114800"/>
          </a:xfrm>
          <a:prstGeom prst="rect">
            <a:avLst/>
          </a:prstGeom>
          <a:noFill/>
          <a:ln>
            <a:noFill/>
          </a:ln>
        </p:spPr>
        <p:txBody>
          <a:bodyPr spcFirstLastPara="1" wrap="square" lIns="92075" tIns="46025" rIns="92075" bIns="46025" anchor="t" anchorCtr="0">
            <a:noAutofit/>
          </a:bodyPr>
          <a:lstStyle>
            <a:lvl1pPr marL="457200" lvl="0" indent="-320040" algn="l">
              <a:spcBef>
                <a:spcPts val="360"/>
              </a:spcBef>
              <a:spcAft>
                <a:spcPts val="0"/>
              </a:spcAft>
              <a:buSzPts val="144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88" name="Google Shape;88;p32"/>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 name="Google Shape;89;p32"/>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 name="Google Shape;90;p32"/>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957117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91"/>
        <p:cNvGrpSpPr/>
        <p:nvPr/>
      </p:nvGrpSpPr>
      <p:grpSpPr>
        <a:xfrm>
          <a:off x="0" y="0"/>
          <a:ext cx="0" cy="0"/>
          <a:chOff x="0" y="0"/>
          <a:chExt cx="0" cy="0"/>
        </a:xfrm>
      </p:grpSpPr>
      <p:sp>
        <p:nvSpPr>
          <p:cNvPr id="92" name="Google Shape;92;p33"/>
          <p:cNvSpPr txBox="1">
            <a:spLocks noGrp="1"/>
          </p:cNvSpPr>
          <p:nvPr>
            <p:ph type="title"/>
          </p:nvPr>
        </p:nvSpPr>
        <p:spPr>
          <a:xfrm>
            <a:off x="831851" y="1709739"/>
            <a:ext cx="10515600" cy="2852737"/>
          </a:xfrm>
          <a:prstGeom prst="rect">
            <a:avLst/>
          </a:prstGeom>
          <a:noFill/>
          <a:ln>
            <a:noFill/>
          </a:ln>
        </p:spPr>
        <p:txBody>
          <a:bodyPr spcFirstLastPara="1" wrap="square" lIns="92075" tIns="46025" rIns="92075" bIns="46025" anchor="b" anchorCtr="0">
            <a:noAutofit/>
          </a:bodyPr>
          <a:lstStyle>
            <a:lvl1pPr lvl="0" algn="l">
              <a:spcBef>
                <a:spcPts val="0"/>
              </a:spcBef>
              <a:spcAft>
                <a:spcPts val="0"/>
              </a:spcAft>
              <a:buSzPts val="1400"/>
              <a:buNone/>
              <a:defRPr sz="60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3" name="Google Shape;93;p33"/>
          <p:cNvSpPr txBox="1">
            <a:spLocks noGrp="1"/>
          </p:cNvSpPr>
          <p:nvPr>
            <p:ph type="body" idx="1"/>
          </p:nvPr>
        </p:nvSpPr>
        <p:spPr>
          <a:xfrm>
            <a:off x="831851" y="4589464"/>
            <a:ext cx="10515600" cy="1500187"/>
          </a:xfrm>
          <a:prstGeom prst="rect">
            <a:avLst/>
          </a:prstGeom>
          <a:noFill/>
          <a:ln>
            <a:noFill/>
          </a:ln>
        </p:spPr>
        <p:txBody>
          <a:bodyPr spcFirstLastPara="1" wrap="square" lIns="92075" tIns="46025" rIns="92075" bIns="46025" anchor="t" anchorCtr="0">
            <a:noAutofit/>
          </a:bodyPr>
          <a:lstStyle>
            <a:lvl1pPr marL="457200" lvl="0" indent="-228600" algn="l">
              <a:spcBef>
                <a:spcPts val="480"/>
              </a:spcBef>
              <a:spcAft>
                <a:spcPts val="0"/>
              </a:spcAft>
              <a:buSzPts val="1920"/>
              <a:buNone/>
              <a:defRPr sz="2400"/>
            </a:lvl1pPr>
            <a:lvl2pPr marL="914400" lvl="1" indent="-228600" algn="l">
              <a:spcBef>
                <a:spcPts val="400"/>
              </a:spcBef>
              <a:spcAft>
                <a:spcPts val="0"/>
              </a:spcAft>
              <a:buClr>
                <a:schemeClr val="lt1"/>
              </a:buClr>
              <a:buSzPts val="2000"/>
              <a:buFont typeface="Arial"/>
              <a:buNone/>
              <a:defRPr sz="2000"/>
            </a:lvl2pPr>
            <a:lvl3pPr marL="1371600" lvl="2" indent="-228600" algn="l">
              <a:spcBef>
                <a:spcPts val="360"/>
              </a:spcBef>
              <a:spcAft>
                <a:spcPts val="0"/>
              </a:spcAft>
              <a:buSzPts val="1800"/>
              <a:buFont typeface="Arial"/>
              <a:buNone/>
              <a:defRPr sz="1800"/>
            </a:lvl3pPr>
            <a:lvl4pPr marL="1828800" lvl="3" indent="-228600" algn="l">
              <a:spcBef>
                <a:spcPts val="320"/>
              </a:spcBef>
              <a:spcAft>
                <a:spcPts val="0"/>
              </a:spcAft>
              <a:buClr>
                <a:schemeClr val="lt1"/>
              </a:buClr>
              <a:buSzPts val="1600"/>
              <a:buFont typeface="Arial"/>
              <a:buNone/>
              <a:defRPr sz="1600"/>
            </a:lvl4pPr>
            <a:lvl5pPr marL="2286000" lvl="4" indent="-228600" algn="l">
              <a:spcBef>
                <a:spcPts val="320"/>
              </a:spcBef>
              <a:spcAft>
                <a:spcPts val="0"/>
              </a:spcAft>
              <a:buSzPts val="1600"/>
              <a:buFont typeface="Arial"/>
              <a:buNone/>
              <a:defRPr sz="1600"/>
            </a:lvl5pPr>
            <a:lvl6pPr marL="2743200" lvl="5" indent="-228600" algn="l">
              <a:lnSpc>
                <a:spcPct val="90000"/>
              </a:lnSpc>
              <a:spcBef>
                <a:spcPts val="500"/>
              </a:spcBef>
              <a:spcAft>
                <a:spcPts val="0"/>
              </a:spcAft>
              <a:buClr>
                <a:schemeClr val="lt1"/>
              </a:buClr>
              <a:buSzPts val="1600"/>
              <a:buNone/>
              <a:defRPr sz="1600"/>
            </a:lvl6pPr>
            <a:lvl7pPr marL="3200400" lvl="6" indent="-228600" algn="l">
              <a:lnSpc>
                <a:spcPct val="90000"/>
              </a:lnSpc>
              <a:spcBef>
                <a:spcPts val="500"/>
              </a:spcBef>
              <a:spcAft>
                <a:spcPts val="0"/>
              </a:spcAft>
              <a:buClr>
                <a:schemeClr val="lt1"/>
              </a:buClr>
              <a:buSzPts val="1600"/>
              <a:buNone/>
              <a:defRPr sz="1600"/>
            </a:lvl7pPr>
            <a:lvl8pPr marL="3657600" lvl="7" indent="-228600" algn="l">
              <a:lnSpc>
                <a:spcPct val="90000"/>
              </a:lnSpc>
              <a:spcBef>
                <a:spcPts val="500"/>
              </a:spcBef>
              <a:spcAft>
                <a:spcPts val="0"/>
              </a:spcAft>
              <a:buClr>
                <a:schemeClr val="lt1"/>
              </a:buClr>
              <a:buSzPts val="1600"/>
              <a:buNone/>
              <a:defRPr sz="1600"/>
            </a:lvl8pPr>
            <a:lvl9pPr marL="4114800" lvl="8" indent="-228600" algn="l">
              <a:lnSpc>
                <a:spcPct val="90000"/>
              </a:lnSpc>
              <a:spcBef>
                <a:spcPts val="500"/>
              </a:spcBef>
              <a:spcAft>
                <a:spcPts val="0"/>
              </a:spcAft>
              <a:buClr>
                <a:schemeClr val="lt1"/>
              </a:buClr>
              <a:buSzPts val="1600"/>
              <a:buNone/>
              <a:defRPr sz="1600"/>
            </a:lvl9pPr>
          </a:lstStyle>
          <a:p>
            <a:endParaRPr/>
          </a:p>
        </p:txBody>
      </p:sp>
      <p:sp>
        <p:nvSpPr>
          <p:cNvPr id="94" name="Google Shape;94;p33"/>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 name="Google Shape;95;p33"/>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33"/>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662020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9.xml"/><Relationship Id="rId7" Type="http://schemas.openxmlformats.org/officeDocument/2006/relationships/image" Target="../media/image6.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4.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5.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7.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1844408" y="6342617"/>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674228" y="6543137"/>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pic>
        <p:nvPicPr>
          <p:cNvPr id="5" name="Picture 4" descr="Logo&#10;&#10;Description automatically generated">
            <a:extLst>
              <a:ext uri="{FF2B5EF4-FFF2-40B4-BE49-F238E27FC236}">
                <a16:creationId xmlns:a16="http://schemas.microsoft.com/office/drawing/2014/main" id="{10848257-93BD-E758-3B8D-372B4473CF93}"/>
              </a:ext>
            </a:extLst>
          </p:cNvPr>
          <p:cNvPicPr>
            <a:picLocks noChangeAspect="1"/>
          </p:cNvPicPr>
          <p:nvPr userDrawn="1"/>
        </p:nvPicPr>
        <p:blipFill>
          <a:blip r:embed="rId22"/>
          <a:stretch>
            <a:fillRect/>
          </a:stretch>
        </p:blipFill>
        <p:spPr>
          <a:xfrm>
            <a:off x="10601257" y="6161667"/>
            <a:ext cx="1072971" cy="515787"/>
          </a:xfrm>
          <a:prstGeom prst="rect">
            <a:avLst/>
          </a:pr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84"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0"/>
            <a:ext cx="12181331" cy="1002334"/>
          </a:xfrm>
          <a:prstGeom prst="rect">
            <a:avLst/>
          </a:prstGeom>
        </p:spPr>
      </p:pic>
      <p:pic>
        <p:nvPicPr>
          <p:cNvPr id="17" name="bg object 17"/>
          <p:cNvPicPr/>
          <p:nvPr/>
        </p:nvPicPr>
        <p:blipFill>
          <a:blip r:embed="rId8" cstate="print"/>
          <a:stretch>
            <a:fillRect/>
          </a:stretch>
        </p:blipFill>
        <p:spPr>
          <a:xfrm>
            <a:off x="0" y="0"/>
            <a:ext cx="12048553" cy="1071283"/>
          </a:xfrm>
          <a:prstGeom prst="rect">
            <a:avLst/>
          </a:prstGeom>
        </p:spPr>
      </p:pic>
      <p:sp>
        <p:nvSpPr>
          <p:cNvPr id="2" name="Holder 2"/>
          <p:cNvSpPr>
            <a:spLocks noGrp="1"/>
          </p:cNvSpPr>
          <p:nvPr>
            <p:ph type="title"/>
          </p:nvPr>
        </p:nvSpPr>
        <p:spPr>
          <a:xfrm>
            <a:off x="1342082" y="744475"/>
            <a:ext cx="9340215" cy="1397000"/>
          </a:xfrm>
          <a:prstGeom prst="rect">
            <a:avLst/>
          </a:prstGeom>
        </p:spPr>
        <p:txBody>
          <a:bodyPr wrap="square" lIns="0" tIns="0" rIns="0" bIns="0">
            <a:spAutoFit/>
          </a:bodyPr>
          <a:lstStyle>
            <a:lvl1pPr>
              <a:defRPr sz="5400" b="1" i="0">
                <a:solidFill>
                  <a:srgbClr val="232852"/>
                </a:solidFill>
                <a:latin typeface="Century Gothic"/>
                <a:cs typeface="Century Gothic"/>
              </a:defRPr>
            </a:lvl1pPr>
          </a:lstStyle>
          <a:p>
            <a:endParaRPr/>
          </a:p>
        </p:txBody>
      </p:sp>
      <p:sp>
        <p:nvSpPr>
          <p:cNvPr id="3" name="Holder 3"/>
          <p:cNvSpPr>
            <a:spLocks noGrp="1"/>
          </p:cNvSpPr>
          <p:nvPr>
            <p:ph type="body" idx="1"/>
          </p:nvPr>
        </p:nvSpPr>
        <p:spPr>
          <a:xfrm>
            <a:off x="681991" y="1495644"/>
            <a:ext cx="10828017" cy="4471670"/>
          </a:xfrm>
          <a:prstGeom prst="rect">
            <a:avLst/>
          </a:prstGeom>
        </p:spPr>
        <p:txBody>
          <a:bodyPr wrap="square" lIns="0" tIns="0" rIns="0" bIns="0">
            <a:spAutoFit/>
          </a:bodyPr>
          <a:lstStyle>
            <a:lvl1pPr>
              <a:defRPr sz="2400" b="0" i="0">
                <a:solidFill>
                  <a:schemeClr val="tx1"/>
                </a:solidFill>
                <a:latin typeface="Palatino Linotype"/>
                <a:cs typeface="Palatino Linotype"/>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a:xfrm>
            <a:off x="11473942" y="6569373"/>
            <a:ext cx="158750" cy="167640"/>
          </a:xfrm>
          <a:prstGeom prst="rect">
            <a:avLst/>
          </a:prstGeom>
        </p:spPr>
        <p:txBody>
          <a:bodyPr wrap="square" lIns="0" tIns="0" rIns="0" bIns="0">
            <a:spAutoFit/>
          </a:bodyPr>
          <a:lstStyle>
            <a:lvl1pPr>
              <a:defRPr sz="1100" b="0" i="0">
                <a:solidFill>
                  <a:schemeClr val="tx1"/>
                </a:solidFill>
                <a:latin typeface="Palatino Linotype"/>
                <a:cs typeface="Palatino Linotype"/>
              </a:defRPr>
            </a:lvl1pPr>
          </a:lstStyle>
          <a:p>
            <a:pPr marL="38100">
              <a:lnSpc>
                <a:spcPts val="1125"/>
              </a:lnSpc>
            </a:pPr>
            <a:fld id="{81D60167-4931-47E6-BA6A-407CBD079E47}" type="slidenum">
              <a:rPr spc="-5" dirty="0"/>
              <a:t>‹#›</a:t>
            </a:fld>
            <a:endParaRPr spc="-5" dirty="0"/>
          </a:p>
        </p:txBody>
      </p:sp>
    </p:spTree>
    <p:extLst>
      <p:ext uri="{BB962C8B-B14F-4D97-AF65-F5344CB8AC3E}">
        <p14:creationId xmlns:p14="http://schemas.microsoft.com/office/powerpoint/2010/main" val="207557422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0DDF1B-51CB-15DE-79D7-04C1CF10E6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53C234B-F288-D2EF-3675-5D092E22AFF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876C03-9427-D32C-CBFD-6A54EF6F0E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BA5EAC4-38C8-4641-9285-8AD9667EA847}" type="datetimeFigureOut">
              <a:rPr lang="en-US" smtClean="0"/>
              <a:t>4/4/2024</a:t>
            </a:fld>
            <a:endParaRPr lang="en-US"/>
          </a:p>
        </p:txBody>
      </p:sp>
      <p:sp>
        <p:nvSpPr>
          <p:cNvPr id="5" name="Footer Placeholder 4">
            <a:extLst>
              <a:ext uri="{FF2B5EF4-FFF2-40B4-BE49-F238E27FC236}">
                <a16:creationId xmlns:a16="http://schemas.microsoft.com/office/drawing/2014/main" id="{7D129930-1B4E-5BC0-240C-734D3928BD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B620002-C527-E66A-D2BD-EB32C9C48E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F321E16-1E52-4854-8F2F-3EF2DE38C196}" type="slidenum">
              <a:rPr lang="en-US" smtClean="0"/>
              <a:t>‹#›</a:t>
            </a:fld>
            <a:endParaRPr lang="en-US"/>
          </a:p>
        </p:txBody>
      </p:sp>
    </p:spTree>
    <p:extLst>
      <p:ext uri="{BB962C8B-B14F-4D97-AF65-F5344CB8AC3E}">
        <p14:creationId xmlns:p14="http://schemas.microsoft.com/office/powerpoint/2010/main" val="402083789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8288000" h="10287000">
                <a:moveTo>
                  <a:pt x="18287998" y="10286999"/>
                </a:moveTo>
                <a:lnTo>
                  <a:pt x="0" y="10286999"/>
                </a:lnTo>
                <a:lnTo>
                  <a:pt x="0" y="0"/>
                </a:lnTo>
                <a:lnTo>
                  <a:pt x="18287998" y="0"/>
                </a:lnTo>
                <a:lnTo>
                  <a:pt x="18287998" y="10286999"/>
                </a:lnTo>
                <a:close/>
              </a:path>
            </a:pathLst>
          </a:custGeom>
          <a:solidFill>
            <a:srgbClr val="E4DFCD"/>
          </a:solidFill>
        </p:spPr>
        <p:txBody>
          <a:bodyPr wrap="square" lIns="0" tIns="0" rIns="0" bIns="0" rtlCol="0"/>
          <a:lstStyle/>
          <a:p>
            <a:endParaRPr sz="1200"/>
          </a:p>
        </p:txBody>
      </p:sp>
      <p:sp>
        <p:nvSpPr>
          <p:cNvPr id="2" name="Holder 2"/>
          <p:cNvSpPr>
            <a:spLocks noGrp="1"/>
          </p:cNvSpPr>
          <p:nvPr>
            <p:ph type="title"/>
          </p:nvPr>
        </p:nvSpPr>
        <p:spPr>
          <a:xfrm>
            <a:off x="1331019" y="32920"/>
            <a:ext cx="9529960" cy="1384995"/>
          </a:xfrm>
          <a:prstGeom prst="rect">
            <a:avLst/>
          </a:prstGeom>
        </p:spPr>
        <p:txBody>
          <a:bodyPr wrap="square" lIns="0" tIns="0" rIns="0" bIns="0">
            <a:spAutoFit/>
          </a:bodyPr>
          <a:lstStyle>
            <a:lvl1pPr>
              <a:defRPr sz="9000" b="0" i="0">
                <a:solidFill>
                  <a:srgbClr val="45482F"/>
                </a:solidFill>
                <a:latin typeface="Palatino Linotype"/>
                <a:cs typeface="Palatino Linotype"/>
              </a:defRPr>
            </a:lvl1pPr>
          </a:lstStyle>
          <a:p>
            <a:endParaRPr/>
          </a:p>
        </p:txBody>
      </p:sp>
      <p:sp>
        <p:nvSpPr>
          <p:cNvPr id="3" name="Holder 3"/>
          <p:cNvSpPr>
            <a:spLocks noGrp="1"/>
          </p:cNvSpPr>
          <p:nvPr>
            <p:ph type="body" idx="1"/>
          </p:nvPr>
        </p:nvSpPr>
        <p:spPr>
          <a:xfrm>
            <a:off x="4908993" y="2360084"/>
            <a:ext cx="6797887" cy="646331"/>
          </a:xfrm>
          <a:prstGeom prst="rect">
            <a:avLst/>
          </a:prstGeom>
        </p:spPr>
        <p:txBody>
          <a:bodyPr wrap="square" lIns="0" tIns="0" rIns="0" bIns="0">
            <a:spAutoFit/>
          </a:bodyPr>
          <a:lstStyle>
            <a:lvl1pPr>
              <a:defRPr sz="4200" b="0" i="0">
                <a:solidFill>
                  <a:srgbClr val="45482F"/>
                </a:solidFill>
                <a:latin typeface="Noto Sans"/>
                <a:cs typeface="Noto Sans"/>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8976242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Lst>
  <p:txStyles>
    <p:titleStyle>
      <a:lvl1pPr>
        <a:defRPr>
          <a:latin typeface="+mj-lt"/>
          <a:ea typeface="+mj-ea"/>
          <a:cs typeface="+mj-cs"/>
        </a:defRPr>
      </a:lvl1pPr>
    </p:titleStyle>
    <p:bodyStyle>
      <a:lvl1pPr marL="0">
        <a:defRPr>
          <a:latin typeface="+mn-lt"/>
          <a:ea typeface="+mn-ea"/>
          <a:cs typeface="+mn-cs"/>
        </a:defRPr>
      </a:lvl1pPr>
      <a:lvl2pPr marL="304815">
        <a:defRPr>
          <a:latin typeface="+mn-lt"/>
          <a:ea typeface="+mn-ea"/>
          <a:cs typeface="+mn-cs"/>
        </a:defRPr>
      </a:lvl2pPr>
      <a:lvl3pPr marL="609630">
        <a:defRPr>
          <a:latin typeface="+mn-lt"/>
          <a:ea typeface="+mn-ea"/>
          <a:cs typeface="+mn-cs"/>
        </a:defRPr>
      </a:lvl3pPr>
      <a:lvl4pPr marL="914446">
        <a:defRPr>
          <a:latin typeface="+mn-lt"/>
          <a:ea typeface="+mn-ea"/>
          <a:cs typeface="+mn-cs"/>
        </a:defRPr>
      </a:lvl4pPr>
      <a:lvl5pPr marL="1219261">
        <a:defRPr>
          <a:latin typeface="+mn-lt"/>
          <a:ea typeface="+mn-ea"/>
          <a:cs typeface="+mn-cs"/>
        </a:defRPr>
      </a:lvl5pPr>
      <a:lvl6pPr marL="1524076">
        <a:defRPr>
          <a:latin typeface="+mn-lt"/>
          <a:ea typeface="+mn-ea"/>
          <a:cs typeface="+mn-cs"/>
        </a:defRPr>
      </a:lvl6pPr>
      <a:lvl7pPr marL="1828891">
        <a:defRPr>
          <a:latin typeface="+mn-lt"/>
          <a:ea typeface="+mn-ea"/>
          <a:cs typeface="+mn-cs"/>
        </a:defRPr>
      </a:lvl7pPr>
      <a:lvl8pPr marL="2133707">
        <a:defRPr>
          <a:latin typeface="+mn-lt"/>
          <a:ea typeface="+mn-ea"/>
          <a:cs typeface="+mn-cs"/>
        </a:defRPr>
      </a:lvl8pPr>
      <a:lvl9pPr marL="2438522">
        <a:defRPr>
          <a:latin typeface="+mn-lt"/>
          <a:ea typeface="+mn-ea"/>
          <a:cs typeface="+mn-cs"/>
        </a:defRPr>
      </a:lvl9pPr>
    </p:bodyStyle>
    <p:otherStyle>
      <a:lvl1pPr marL="0">
        <a:defRPr>
          <a:latin typeface="+mn-lt"/>
          <a:ea typeface="+mn-ea"/>
          <a:cs typeface="+mn-cs"/>
        </a:defRPr>
      </a:lvl1pPr>
      <a:lvl2pPr marL="304815">
        <a:defRPr>
          <a:latin typeface="+mn-lt"/>
          <a:ea typeface="+mn-ea"/>
          <a:cs typeface="+mn-cs"/>
        </a:defRPr>
      </a:lvl2pPr>
      <a:lvl3pPr marL="609630">
        <a:defRPr>
          <a:latin typeface="+mn-lt"/>
          <a:ea typeface="+mn-ea"/>
          <a:cs typeface="+mn-cs"/>
        </a:defRPr>
      </a:lvl3pPr>
      <a:lvl4pPr marL="914446">
        <a:defRPr>
          <a:latin typeface="+mn-lt"/>
          <a:ea typeface="+mn-ea"/>
          <a:cs typeface="+mn-cs"/>
        </a:defRPr>
      </a:lvl4pPr>
      <a:lvl5pPr marL="1219261">
        <a:defRPr>
          <a:latin typeface="+mn-lt"/>
          <a:ea typeface="+mn-ea"/>
          <a:cs typeface="+mn-cs"/>
        </a:defRPr>
      </a:lvl5pPr>
      <a:lvl6pPr marL="1524076">
        <a:defRPr>
          <a:latin typeface="+mn-lt"/>
          <a:ea typeface="+mn-ea"/>
          <a:cs typeface="+mn-cs"/>
        </a:defRPr>
      </a:lvl6pPr>
      <a:lvl7pPr marL="1828891">
        <a:defRPr>
          <a:latin typeface="+mn-lt"/>
          <a:ea typeface="+mn-ea"/>
          <a:cs typeface="+mn-cs"/>
        </a:defRPr>
      </a:lvl7pPr>
      <a:lvl8pPr marL="2133707">
        <a:defRPr>
          <a:latin typeface="+mn-lt"/>
          <a:ea typeface="+mn-ea"/>
          <a:cs typeface="+mn-cs"/>
        </a:defRPr>
      </a:lvl8pPr>
      <a:lvl9pPr marL="2438522">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endParaRPr/>
          </a:p>
        </p:txBody>
      </p:sp>
      <p:sp>
        <p:nvSpPr>
          <p:cNvPr id="17" name="bg object 17"/>
          <p:cNvSpPr/>
          <p:nvPr/>
        </p:nvSpPr>
        <p:spPr>
          <a:xfrm>
            <a:off x="11000232" y="5987796"/>
            <a:ext cx="1053465" cy="469900"/>
          </a:xfrm>
          <a:custGeom>
            <a:avLst/>
            <a:gdLst/>
            <a:ahLst/>
            <a:cxnLst/>
            <a:rect l="l" t="t" r="r" b="b"/>
            <a:pathLst>
              <a:path w="1053465" h="469900">
                <a:moveTo>
                  <a:pt x="355092" y="0"/>
                </a:moveTo>
                <a:lnTo>
                  <a:pt x="318770" y="0"/>
                </a:lnTo>
                <a:lnTo>
                  <a:pt x="0" y="469392"/>
                </a:lnTo>
                <a:lnTo>
                  <a:pt x="36322" y="469392"/>
                </a:lnTo>
                <a:lnTo>
                  <a:pt x="355092" y="0"/>
                </a:lnTo>
                <a:close/>
              </a:path>
              <a:path w="1053465" h="469900">
                <a:moveTo>
                  <a:pt x="528828" y="0"/>
                </a:moveTo>
                <a:lnTo>
                  <a:pt x="492506" y="0"/>
                </a:lnTo>
                <a:lnTo>
                  <a:pt x="173736" y="469392"/>
                </a:lnTo>
                <a:lnTo>
                  <a:pt x="210058" y="469392"/>
                </a:lnTo>
                <a:lnTo>
                  <a:pt x="528828" y="0"/>
                </a:lnTo>
                <a:close/>
              </a:path>
              <a:path w="1053465" h="469900">
                <a:moveTo>
                  <a:pt x="704088" y="0"/>
                </a:moveTo>
                <a:lnTo>
                  <a:pt x="667766" y="0"/>
                </a:lnTo>
                <a:lnTo>
                  <a:pt x="348996" y="469392"/>
                </a:lnTo>
                <a:lnTo>
                  <a:pt x="385191" y="469392"/>
                </a:lnTo>
                <a:lnTo>
                  <a:pt x="704088" y="0"/>
                </a:lnTo>
                <a:close/>
              </a:path>
              <a:path w="1053465" h="469900">
                <a:moveTo>
                  <a:pt x="879348" y="0"/>
                </a:moveTo>
                <a:lnTo>
                  <a:pt x="843026" y="0"/>
                </a:lnTo>
                <a:lnTo>
                  <a:pt x="524256" y="469392"/>
                </a:lnTo>
                <a:lnTo>
                  <a:pt x="560451" y="469392"/>
                </a:lnTo>
                <a:lnTo>
                  <a:pt x="879348" y="0"/>
                </a:lnTo>
                <a:close/>
              </a:path>
              <a:path w="1053465" h="469900">
                <a:moveTo>
                  <a:pt x="1053084" y="0"/>
                </a:moveTo>
                <a:lnTo>
                  <a:pt x="1016762" y="0"/>
                </a:lnTo>
                <a:lnTo>
                  <a:pt x="697992" y="469392"/>
                </a:lnTo>
                <a:lnTo>
                  <a:pt x="734187" y="469392"/>
                </a:lnTo>
                <a:lnTo>
                  <a:pt x="1053084" y="0"/>
                </a:lnTo>
                <a:close/>
              </a:path>
            </a:pathLst>
          </a:custGeom>
          <a:solidFill>
            <a:srgbClr val="FFFFFF"/>
          </a:solidFill>
        </p:spPr>
        <p:txBody>
          <a:bodyPr wrap="square" lIns="0" tIns="0" rIns="0" bIns="0" rtlCol="0"/>
          <a:lstStyle/>
          <a:p>
            <a:endParaRPr/>
          </a:p>
        </p:txBody>
      </p:sp>
      <p:sp>
        <p:nvSpPr>
          <p:cNvPr id="18" name="bg object 18"/>
          <p:cNvSpPr/>
          <p:nvPr/>
        </p:nvSpPr>
        <p:spPr>
          <a:xfrm>
            <a:off x="320802" y="653033"/>
            <a:ext cx="320040" cy="320040"/>
          </a:xfrm>
          <a:custGeom>
            <a:avLst/>
            <a:gdLst/>
            <a:ahLst/>
            <a:cxnLst/>
            <a:rect l="l" t="t" r="r" b="b"/>
            <a:pathLst>
              <a:path w="320040" h="320040">
                <a:moveTo>
                  <a:pt x="160019" y="0"/>
                </a:moveTo>
                <a:lnTo>
                  <a:pt x="109440" y="8156"/>
                </a:lnTo>
                <a:lnTo>
                  <a:pt x="65513" y="30870"/>
                </a:lnTo>
                <a:lnTo>
                  <a:pt x="30873" y="65507"/>
                </a:lnTo>
                <a:lnTo>
                  <a:pt x="8157" y="109435"/>
                </a:lnTo>
                <a:lnTo>
                  <a:pt x="0" y="160019"/>
                </a:lnTo>
                <a:lnTo>
                  <a:pt x="8157" y="210604"/>
                </a:lnTo>
                <a:lnTo>
                  <a:pt x="30873" y="254532"/>
                </a:lnTo>
                <a:lnTo>
                  <a:pt x="65513" y="289169"/>
                </a:lnTo>
                <a:lnTo>
                  <a:pt x="109440" y="311883"/>
                </a:lnTo>
                <a:lnTo>
                  <a:pt x="160019" y="320039"/>
                </a:lnTo>
                <a:lnTo>
                  <a:pt x="210599" y="311883"/>
                </a:lnTo>
                <a:lnTo>
                  <a:pt x="254526" y="289169"/>
                </a:lnTo>
                <a:lnTo>
                  <a:pt x="289166" y="254532"/>
                </a:lnTo>
                <a:lnTo>
                  <a:pt x="311882" y="210604"/>
                </a:lnTo>
                <a:lnTo>
                  <a:pt x="320040" y="160019"/>
                </a:lnTo>
                <a:lnTo>
                  <a:pt x="311882" y="109435"/>
                </a:lnTo>
                <a:lnTo>
                  <a:pt x="289166" y="65507"/>
                </a:lnTo>
                <a:lnTo>
                  <a:pt x="254526" y="30870"/>
                </a:lnTo>
                <a:lnTo>
                  <a:pt x="210599" y="8156"/>
                </a:lnTo>
                <a:lnTo>
                  <a:pt x="160019" y="0"/>
                </a:lnTo>
                <a:close/>
              </a:path>
            </a:pathLst>
          </a:custGeom>
          <a:solidFill>
            <a:srgbClr val="CFF7E0"/>
          </a:solidFill>
        </p:spPr>
        <p:txBody>
          <a:bodyPr wrap="square" lIns="0" tIns="0" rIns="0" bIns="0" rtlCol="0"/>
          <a:lstStyle/>
          <a:p>
            <a:endParaRPr/>
          </a:p>
        </p:txBody>
      </p:sp>
      <p:sp>
        <p:nvSpPr>
          <p:cNvPr id="19" name="bg object 19"/>
          <p:cNvSpPr/>
          <p:nvPr/>
        </p:nvSpPr>
        <p:spPr>
          <a:xfrm>
            <a:off x="320802" y="653033"/>
            <a:ext cx="320040" cy="320040"/>
          </a:xfrm>
          <a:custGeom>
            <a:avLst/>
            <a:gdLst/>
            <a:ahLst/>
            <a:cxnLst/>
            <a:rect l="l" t="t" r="r" b="b"/>
            <a:pathLst>
              <a:path w="320040" h="320040">
                <a:moveTo>
                  <a:pt x="0" y="160019"/>
                </a:moveTo>
                <a:lnTo>
                  <a:pt x="8157" y="109435"/>
                </a:lnTo>
                <a:lnTo>
                  <a:pt x="30873" y="65507"/>
                </a:lnTo>
                <a:lnTo>
                  <a:pt x="65513" y="30870"/>
                </a:lnTo>
                <a:lnTo>
                  <a:pt x="109440" y="8156"/>
                </a:lnTo>
                <a:lnTo>
                  <a:pt x="160019" y="0"/>
                </a:lnTo>
                <a:lnTo>
                  <a:pt x="210599" y="8156"/>
                </a:lnTo>
                <a:lnTo>
                  <a:pt x="254526" y="30870"/>
                </a:lnTo>
                <a:lnTo>
                  <a:pt x="289166" y="65507"/>
                </a:lnTo>
                <a:lnTo>
                  <a:pt x="311882" y="109435"/>
                </a:lnTo>
                <a:lnTo>
                  <a:pt x="320040" y="160019"/>
                </a:lnTo>
                <a:lnTo>
                  <a:pt x="311882" y="210604"/>
                </a:lnTo>
                <a:lnTo>
                  <a:pt x="289166" y="254532"/>
                </a:lnTo>
                <a:lnTo>
                  <a:pt x="254526" y="289169"/>
                </a:lnTo>
                <a:lnTo>
                  <a:pt x="210599" y="311883"/>
                </a:lnTo>
                <a:lnTo>
                  <a:pt x="160019" y="320039"/>
                </a:lnTo>
                <a:lnTo>
                  <a:pt x="109440" y="311883"/>
                </a:lnTo>
                <a:lnTo>
                  <a:pt x="65513" y="289169"/>
                </a:lnTo>
                <a:lnTo>
                  <a:pt x="30873" y="254532"/>
                </a:lnTo>
                <a:lnTo>
                  <a:pt x="8157" y="210604"/>
                </a:lnTo>
                <a:lnTo>
                  <a:pt x="0" y="160019"/>
                </a:lnTo>
                <a:close/>
              </a:path>
            </a:pathLst>
          </a:custGeom>
          <a:ln w="28575">
            <a:solidFill>
              <a:srgbClr val="FFFFFF"/>
            </a:solidFill>
          </a:ln>
        </p:spPr>
        <p:txBody>
          <a:bodyPr wrap="square" lIns="0" tIns="0" rIns="0" bIns="0" rtlCol="0"/>
          <a:lstStyle/>
          <a:p>
            <a:endParaRPr/>
          </a:p>
        </p:txBody>
      </p:sp>
      <p:sp>
        <p:nvSpPr>
          <p:cNvPr id="2" name="Holder 2"/>
          <p:cNvSpPr>
            <a:spLocks noGrp="1"/>
          </p:cNvSpPr>
          <p:nvPr>
            <p:ph type="title"/>
          </p:nvPr>
        </p:nvSpPr>
        <p:spPr>
          <a:xfrm>
            <a:off x="814832" y="309752"/>
            <a:ext cx="10503433" cy="789559"/>
          </a:xfrm>
          <a:prstGeom prst="rect">
            <a:avLst/>
          </a:prstGeom>
        </p:spPr>
        <p:txBody>
          <a:bodyPr wrap="square" lIns="0" tIns="0" rIns="0" bIns="0">
            <a:spAutoFit/>
          </a:bodyPr>
          <a:lstStyle>
            <a:lvl1pPr>
              <a:defRPr sz="4400" b="0" i="0">
                <a:solidFill>
                  <a:schemeClr val="bg1"/>
                </a:solidFill>
                <a:latin typeface="Calibri"/>
                <a:cs typeface="Calibri"/>
              </a:defRPr>
            </a:lvl1pPr>
          </a:lstStyle>
          <a:p>
            <a:endParaRPr/>
          </a:p>
        </p:txBody>
      </p:sp>
      <p:sp>
        <p:nvSpPr>
          <p:cNvPr id="3" name="Holder 3"/>
          <p:cNvSpPr>
            <a:spLocks noGrp="1"/>
          </p:cNvSpPr>
          <p:nvPr>
            <p:ph type="body" idx="1"/>
          </p:nvPr>
        </p:nvSpPr>
        <p:spPr>
          <a:xfrm>
            <a:off x="395427" y="1741678"/>
            <a:ext cx="10941685" cy="4439920"/>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4/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5433370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a:gsLst>
            <a:gs pos="0">
              <a:srgbClr val="002F5E"/>
            </a:gs>
            <a:gs pos="50000">
              <a:schemeClr val="dk2"/>
            </a:gs>
            <a:gs pos="100000">
              <a:srgbClr val="002F5E"/>
            </a:gs>
          </a:gsLst>
          <a:lin ang="5400000" scaled="0"/>
        </a:gradFill>
        <a:effectLst/>
      </p:bgPr>
    </p:bg>
    <p:spTree>
      <p:nvGrpSpPr>
        <p:cNvPr id="1" name="Shape 9"/>
        <p:cNvGrpSpPr/>
        <p:nvPr/>
      </p:nvGrpSpPr>
      <p:grpSpPr>
        <a:xfrm>
          <a:off x="0" y="0"/>
          <a:ext cx="0" cy="0"/>
          <a:chOff x="0" y="0"/>
          <a:chExt cx="0" cy="0"/>
        </a:xfrm>
      </p:grpSpPr>
      <p:sp>
        <p:nvSpPr>
          <p:cNvPr id="10" name="Google Shape;10;p21"/>
          <p:cNvSpPr txBox="1"/>
          <p:nvPr/>
        </p:nvSpPr>
        <p:spPr>
          <a:xfrm>
            <a:off x="508000" y="0"/>
            <a:ext cx="1930400" cy="6856412"/>
          </a:xfrm>
          <a:prstGeom prst="rect">
            <a:avLst/>
          </a:prstGeom>
          <a:gradFill>
            <a:gsLst>
              <a:gs pos="0">
                <a:srgbClr val="003F7E"/>
              </a:gs>
              <a:gs pos="50000">
                <a:srgbClr val="0066CC">
                  <a:alpha val="49803"/>
                </a:srgbClr>
              </a:gs>
              <a:gs pos="100000">
                <a:srgbClr val="003F7E"/>
              </a:gs>
            </a:gsLst>
            <a:lin ang="5400000"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a:solidFill>
                <a:schemeClr val="lt1"/>
              </a:solidFill>
              <a:latin typeface="Times New Roman"/>
              <a:ea typeface="Times New Roman"/>
              <a:cs typeface="Times New Roman"/>
              <a:sym typeface="Times New Roman"/>
            </a:endParaRPr>
          </a:p>
        </p:txBody>
      </p:sp>
      <p:sp>
        <p:nvSpPr>
          <p:cNvPr id="11" name="Google Shape;11;p21"/>
          <p:cNvSpPr txBox="1"/>
          <p:nvPr/>
        </p:nvSpPr>
        <p:spPr>
          <a:xfrm>
            <a:off x="914400" y="2438400"/>
            <a:ext cx="11275483" cy="762000"/>
          </a:xfrm>
          <a:prstGeom prst="rect">
            <a:avLst/>
          </a:prstGeom>
          <a:gradFill>
            <a:gsLst>
              <a:gs pos="0">
                <a:schemeClr val="dk2"/>
              </a:gs>
              <a:gs pos="100000">
                <a:srgbClr val="00101F"/>
              </a:gs>
            </a:gsLst>
            <a:lin ang="0"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a:solidFill>
                <a:schemeClr val="lt1"/>
              </a:solidFill>
              <a:latin typeface="Times New Roman"/>
              <a:ea typeface="Times New Roman"/>
              <a:cs typeface="Times New Roman"/>
              <a:sym typeface="Times New Roman"/>
            </a:endParaRPr>
          </a:p>
        </p:txBody>
      </p:sp>
      <p:sp>
        <p:nvSpPr>
          <p:cNvPr id="12" name="Google Shape;12;p21"/>
          <p:cNvSpPr txBox="1"/>
          <p:nvPr/>
        </p:nvSpPr>
        <p:spPr>
          <a:xfrm>
            <a:off x="0" y="3505200"/>
            <a:ext cx="6299200" cy="152400"/>
          </a:xfrm>
          <a:prstGeom prst="rect">
            <a:avLst/>
          </a:prstGeom>
          <a:solidFill>
            <a:schemeClr val="accent1">
              <a:alpha val="49803"/>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a:solidFill>
                <a:schemeClr val="lt1"/>
              </a:solidFill>
              <a:latin typeface="Times New Roman"/>
              <a:ea typeface="Times New Roman"/>
              <a:cs typeface="Times New Roman"/>
              <a:sym typeface="Times New Roman"/>
            </a:endParaRPr>
          </a:p>
        </p:txBody>
      </p:sp>
      <p:sp>
        <p:nvSpPr>
          <p:cNvPr id="13" name="Google Shape;13;p21"/>
          <p:cNvSpPr txBox="1">
            <a:spLocks noGrp="1"/>
          </p:cNvSpPr>
          <p:nvPr>
            <p:ph type="title"/>
          </p:nvPr>
        </p:nvSpPr>
        <p:spPr>
          <a:xfrm>
            <a:off x="914400" y="609600"/>
            <a:ext cx="10363200" cy="1143000"/>
          </a:xfrm>
          <a:prstGeom prst="rect">
            <a:avLst/>
          </a:prstGeom>
          <a:noFill/>
          <a:ln>
            <a:noFill/>
          </a:ln>
        </p:spPr>
        <p:txBody>
          <a:bodyPr spcFirstLastPara="1" wrap="square" lIns="92075" tIns="46025" rIns="92075" bIns="46025" anchor="ctr" anchorCtr="0">
            <a:noAutofit/>
          </a:bodyPr>
          <a:lstStyle>
            <a:lvl1pPr marR="0" lvl="0"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1pPr>
            <a:lvl2pPr marR="0" lvl="1"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2pPr>
            <a:lvl3pPr marR="0" lvl="2"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3pPr>
            <a:lvl4pPr marR="0" lvl="3"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4pPr>
            <a:lvl5pPr marR="0" lvl="4"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5pPr>
            <a:lvl6pPr marR="0" lvl="5"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6pPr>
            <a:lvl7pPr marR="0" lvl="6"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7pPr>
            <a:lvl8pPr marR="0" lvl="7"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8pPr>
            <a:lvl9pPr marR="0" lvl="8"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9pPr>
          </a:lstStyle>
          <a:p>
            <a:endParaRPr/>
          </a:p>
        </p:txBody>
      </p:sp>
      <p:sp>
        <p:nvSpPr>
          <p:cNvPr id="14" name="Google Shape;14;p21"/>
          <p:cNvSpPr txBox="1">
            <a:spLocks noGrp="1"/>
          </p:cNvSpPr>
          <p:nvPr>
            <p:ph type="body" idx="1"/>
          </p:nvPr>
        </p:nvSpPr>
        <p:spPr>
          <a:xfrm>
            <a:off x="914400" y="1981200"/>
            <a:ext cx="10363200" cy="4114800"/>
          </a:xfrm>
          <a:prstGeom prst="rect">
            <a:avLst/>
          </a:prstGeom>
          <a:noFill/>
          <a:ln>
            <a:noFill/>
          </a:ln>
        </p:spPr>
        <p:txBody>
          <a:bodyPr spcFirstLastPara="1" wrap="square" lIns="92075" tIns="46025" rIns="92075" bIns="46025" anchor="t" anchorCtr="0">
            <a:noAutofit/>
          </a:bodyPr>
          <a:lstStyle>
            <a:lvl1pPr marL="457200" marR="0" lvl="0" indent="-391160" algn="l" rtl="0">
              <a:spcBef>
                <a:spcPts val="640"/>
              </a:spcBef>
              <a:spcAft>
                <a:spcPts val="0"/>
              </a:spcAft>
              <a:buClr>
                <a:schemeClr val="accent2"/>
              </a:buClr>
              <a:buSzPts val="2560"/>
              <a:buFont typeface="Noto Sans Symbols"/>
              <a:buChar char="●"/>
              <a:defRPr sz="3200" b="1" i="0" u="none" strike="noStrike" cap="none">
                <a:solidFill>
                  <a:schemeClr val="lt1"/>
                </a:solidFill>
                <a:latin typeface="Arial"/>
                <a:ea typeface="Arial"/>
                <a:cs typeface="Arial"/>
                <a:sym typeface="Arial"/>
              </a:defRPr>
            </a:lvl1pPr>
            <a:lvl2pPr marL="914400" marR="0" lvl="1" indent="-406400" algn="l" rtl="0">
              <a:spcBef>
                <a:spcPts val="560"/>
              </a:spcBef>
              <a:spcAft>
                <a:spcPts val="0"/>
              </a:spcAft>
              <a:buClr>
                <a:schemeClr val="lt1"/>
              </a:buClr>
              <a:buSzPts val="2800"/>
              <a:buFont typeface="Arial"/>
              <a:buChar char="–"/>
              <a:defRPr sz="2800" b="1" i="0" u="none" strike="noStrike" cap="none">
                <a:solidFill>
                  <a:schemeClr val="lt1"/>
                </a:solidFill>
                <a:latin typeface="Arial"/>
                <a:ea typeface="Arial"/>
                <a:cs typeface="Arial"/>
                <a:sym typeface="Arial"/>
              </a:defRPr>
            </a:lvl2pPr>
            <a:lvl3pPr marL="1371600" marR="0" lvl="2" indent="-381000" algn="l" rtl="0">
              <a:spcBef>
                <a:spcPts val="480"/>
              </a:spcBef>
              <a:spcAft>
                <a:spcPts val="0"/>
              </a:spcAft>
              <a:buClr>
                <a:schemeClr val="accent2"/>
              </a:buClr>
              <a:buSzPts val="2400"/>
              <a:buFont typeface="Arial"/>
              <a:buChar char="•"/>
              <a:defRPr sz="2400" b="1" i="0" u="none" strike="noStrike" cap="none">
                <a:solidFill>
                  <a:schemeClr val="lt1"/>
                </a:solidFill>
                <a:latin typeface="Arial"/>
                <a:ea typeface="Arial"/>
                <a:cs typeface="Arial"/>
                <a:sym typeface="Arial"/>
              </a:defRPr>
            </a:lvl3pPr>
            <a:lvl4pPr marL="1828800" marR="0" lvl="3" indent="-355600" algn="l" rtl="0">
              <a:spcBef>
                <a:spcPts val="400"/>
              </a:spcBef>
              <a:spcAft>
                <a:spcPts val="0"/>
              </a:spcAft>
              <a:buClr>
                <a:schemeClr val="lt1"/>
              </a:buClr>
              <a:buSzPts val="2000"/>
              <a:buFont typeface="Arial"/>
              <a:buChar char="–"/>
              <a:defRPr sz="2000" b="1" i="0" u="none" strike="noStrike" cap="none">
                <a:solidFill>
                  <a:schemeClr val="lt1"/>
                </a:solidFill>
                <a:latin typeface="Arial"/>
                <a:ea typeface="Arial"/>
                <a:cs typeface="Arial"/>
                <a:sym typeface="Arial"/>
              </a:defRPr>
            </a:lvl4pPr>
            <a:lvl5pPr marL="2286000" marR="0" lvl="4" indent="-355600" algn="l" rtl="0">
              <a:spcBef>
                <a:spcPts val="400"/>
              </a:spcBef>
              <a:spcAft>
                <a:spcPts val="0"/>
              </a:spcAft>
              <a:buClr>
                <a:schemeClr val="accent2"/>
              </a:buClr>
              <a:buSzPts val="2000"/>
              <a:buFont typeface="Arial"/>
              <a:buChar char="•"/>
              <a:defRPr sz="2000" b="1"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9pPr>
          </a:lstStyle>
          <a:p>
            <a:endParaRPr/>
          </a:p>
        </p:txBody>
      </p:sp>
      <p:sp>
        <p:nvSpPr>
          <p:cNvPr id="15" name="Google Shape;15;p21"/>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marR="0" lvl="0" algn="l" rtl="0">
              <a:lnSpc>
                <a:spcPct val="100000"/>
              </a:lnSpc>
              <a:spcBef>
                <a:spcPts val="0"/>
              </a:spcBef>
              <a:spcAft>
                <a:spcPts val="0"/>
              </a:spcAft>
              <a:buSzPts val="1400"/>
              <a:buNone/>
              <a:defRPr sz="2400" b="0" i="0" u="none">
                <a:solidFill>
                  <a:schemeClr val="lt1"/>
                </a:solidFill>
                <a:latin typeface="Times New Roman"/>
                <a:ea typeface="Times New Roman"/>
                <a:cs typeface="Times New Roman"/>
                <a:sym typeface="Times New Roman"/>
              </a:defRPr>
            </a:lvl1pPr>
            <a:lvl2pPr marR="0" lvl="1"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2pPr>
            <a:lvl3pPr marR="0" lvl="2"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3pPr>
            <a:lvl4pPr marR="0" lvl="3"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4pPr>
            <a:lvl5pPr marR="0" lvl="4"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5pPr>
            <a:lvl6pPr marR="0" lvl="5"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6pPr>
            <a:lvl7pPr marR="0" lvl="6"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7pPr>
            <a:lvl8pPr marR="0" lvl="7"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8pPr>
            <a:lvl9pPr marR="0" lvl="8"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9pPr>
          </a:lstStyle>
          <a:p>
            <a:endParaRPr/>
          </a:p>
        </p:txBody>
      </p:sp>
      <p:sp>
        <p:nvSpPr>
          <p:cNvPr id="16" name="Google Shape;16;p21"/>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marR="0" lvl="0" algn="l" rtl="0">
              <a:lnSpc>
                <a:spcPct val="100000"/>
              </a:lnSpc>
              <a:spcBef>
                <a:spcPts val="0"/>
              </a:spcBef>
              <a:spcAft>
                <a:spcPts val="0"/>
              </a:spcAft>
              <a:buSzPts val="1400"/>
              <a:buNone/>
              <a:defRPr sz="2400" b="0" i="0" u="none">
                <a:solidFill>
                  <a:schemeClr val="lt1"/>
                </a:solidFill>
                <a:latin typeface="Times New Roman"/>
                <a:ea typeface="Times New Roman"/>
                <a:cs typeface="Times New Roman"/>
                <a:sym typeface="Times New Roman"/>
              </a:defRPr>
            </a:lvl1pPr>
            <a:lvl2pPr marR="0" lvl="1"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2pPr>
            <a:lvl3pPr marR="0" lvl="2"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3pPr>
            <a:lvl4pPr marR="0" lvl="3"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4pPr>
            <a:lvl5pPr marR="0" lvl="4"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5pPr>
            <a:lvl6pPr marR="0" lvl="5"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6pPr>
            <a:lvl7pPr marR="0" lvl="6"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7pPr>
            <a:lvl8pPr marR="0" lvl="7"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8pPr>
            <a:lvl9pPr marR="0" lvl="8"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9pPr>
          </a:lstStyle>
          <a:p>
            <a:endParaRPr/>
          </a:p>
        </p:txBody>
      </p:sp>
      <p:sp>
        <p:nvSpPr>
          <p:cNvPr id="17" name="Google Shape;17;p21"/>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solidFill>
                <a:srgbClr val="000000"/>
              </a:solidFill>
              <a:latin typeface="Arial"/>
              <a:ea typeface="Arial"/>
              <a:cs typeface="Arial"/>
              <a:sym typeface="Arial"/>
            </a:endParaRPr>
          </a:p>
        </p:txBody>
      </p:sp>
    </p:spTree>
    <p:extLst>
      <p:ext uri="{BB962C8B-B14F-4D97-AF65-F5344CB8AC3E}">
        <p14:creationId xmlns:p14="http://schemas.microsoft.com/office/powerpoint/2010/main" val="2116624065"/>
      </p:ext>
    </p:extLst>
  </p:cSld>
  <p:clrMap bg1="lt1" tx1="dk1" bg2="dk2" tx2="lt2" accent1="accent1" accent2="accent2" accent3="accent3" accent4="accent4" accent5="accent5" accent6="accent6" hlink="hlink" folHlink="folHlink"/>
  <p:sldLayoutIdLst>
    <p:sldLayoutId id="214748374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a:gsLst>
            <a:gs pos="0">
              <a:schemeClr val="dk2"/>
            </a:gs>
            <a:gs pos="100000">
              <a:srgbClr val="002F5E"/>
            </a:gs>
          </a:gsLst>
          <a:lin ang="5400000" scaled="0"/>
        </a:gradFill>
        <a:effectLst/>
      </p:bgPr>
    </p:bg>
    <p:spTree>
      <p:nvGrpSpPr>
        <p:cNvPr id="1" name="Shape 24"/>
        <p:cNvGrpSpPr/>
        <p:nvPr/>
      </p:nvGrpSpPr>
      <p:grpSpPr>
        <a:xfrm>
          <a:off x="0" y="0"/>
          <a:ext cx="0" cy="0"/>
          <a:chOff x="0" y="0"/>
          <a:chExt cx="0" cy="0"/>
        </a:xfrm>
      </p:grpSpPr>
      <p:sp>
        <p:nvSpPr>
          <p:cNvPr id="25" name="Google Shape;25;p23"/>
          <p:cNvSpPr txBox="1"/>
          <p:nvPr/>
        </p:nvSpPr>
        <p:spPr>
          <a:xfrm>
            <a:off x="508000" y="0"/>
            <a:ext cx="1930400" cy="6856412"/>
          </a:xfrm>
          <a:prstGeom prst="rect">
            <a:avLst/>
          </a:prstGeom>
          <a:gradFill>
            <a:gsLst>
              <a:gs pos="0">
                <a:srgbClr val="0066CC">
                  <a:alpha val="49803"/>
                </a:srgbClr>
              </a:gs>
              <a:gs pos="100000">
                <a:srgbClr val="003F7E"/>
              </a:gs>
            </a:gsLst>
            <a:lin ang="5400000"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a:solidFill>
                <a:schemeClr val="lt1"/>
              </a:solidFill>
              <a:latin typeface="Times New Roman"/>
              <a:ea typeface="Times New Roman"/>
              <a:cs typeface="Times New Roman"/>
              <a:sym typeface="Times New Roman"/>
            </a:endParaRPr>
          </a:p>
        </p:txBody>
      </p:sp>
      <p:sp>
        <p:nvSpPr>
          <p:cNvPr id="26" name="Google Shape;26;p23"/>
          <p:cNvSpPr txBox="1"/>
          <p:nvPr/>
        </p:nvSpPr>
        <p:spPr>
          <a:xfrm>
            <a:off x="203200" y="1752600"/>
            <a:ext cx="6299200" cy="152400"/>
          </a:xfrm>
          <a:prstGeom prst="rect">
            <a:avLst/>
          </a:prstGeom>
          <a:solidFill>
            <a:schemeClr val="accent1">
              <a:alpha val="49803"/>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a:solidFill>
                <a:schemeClr val="lt1"/>
              </a:solidFill>
              <a:latin typeface="Times New Roman"/>
              <a:ea typeface="Times New Roman"/>
              <a:cs typeface="Times New Roman"/>
              <a:sym typeface="Times New Roman"/>
            </a:endParaRPr>
          </a:p>
        </p:txBody>
      </p:sp>
      <p:sp>
        <p:nvSpPr>
          <p:cNvPr id="27" name="Google Shape;27;p23"/>
          <p:cNvSpPr txBox="1"/>
          <p:nvPr/>
        </p:nvSpPr>
        <p:spPr>
          <a:xfrm>
            <a:off x="914400" y="6629400"/>
            <a:ext cx="4673600" cy="227012"/>
          </a:xfrm>
          <a:prstGeom prst="rect">
            <a:avLst/>
          </a:prstGeom>
          <a:gradFill>
            <a:gsLst>
              <a:gs pos="0">
                <a:srgbClr val="761800"/>
              </a:gs>
              <a:gs pos="50000">
                <a:schemeClr val="hlink"/>
              </a:gs>
              <a:gs pos="100000">
                <a:srgbClr val="761800"/>
              </a:gs>
            </a:gsLst>
            <a:lin ang="0"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a:solidFill>
                <a:schemeClr val="lt1"/>
              </a:solidFill>
              <a:latin typeface="Times New Roman"/>
              <a:ea typeface="Times New Roman"/>
              <a:cs typeface="Times New Roman"/>
              <a:sym typeface="Times New Roman"/>
            </a:endParaRPr>
          </a:p>
        </p:txBody>
      </p:sp>
      <p:sp>
        <p:nvSpPr>
          <p:cNvPr id="28" name="Google Shape;28;p23"/>
          <p:cNvSpPr txBox="1"/>
          <p:nvPr/>
        </p:nvSpPr>
        <p:spPr>
          <a:xfrm>
            <a:off x="1016000" y="762000"/>
            <a:ext cx="11173883" cy="762000"/>
          </a:xfrm>
          <a:prstGeom prst="rect">
            <a:avLst/>
          </a:prstGeom>
          <a:gradFill>
            <a:gsLst>
              <a:gs pos="0">
                <a:schemeClr val="dk2"/>
              </a:gs>
              <a:gs pos="100000">
                <a:srgbClr val="00101F"/>
              </a:gs>
            </a:gsLst>
            <a:lin ang="0"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a:solidFill>
                <a:schemeClr val="lt1"/>
              </a:solidFill>
              <a:latin typeface="Times New Roman"/>
              <a:ea typeface="Times New Roman"/>
              <a:cs typeface="Times New Roman"/>
              <a:sym typeface="Times New Roman"/>
            </a:endParaRPr>
          </a:p>
        </p:txBody>
      </p:sp>
      <p:sp>
        <p:nvSpPr>
          <p:cNvPr id="29" name="Google Shape;29;p23"/>
          <p:cNvSpPr txBox="1">
            <a:spLocks noGrp="1"/>
          </p:cNvSpPr>
          <p:nvPr>
            <p:ph type="title"/>
          </p:nvPr>
        </p:nvSpPr>
        <p:spPr>
          <a:xfrm>
            <a:off x="914400" y="609600"/>
            <a:ext cx="10363200" cy="1143000"/>
          </a:xfrm>
          <a:prstGeom prst="rect">
            <a:avLst/>
          </a:prstGeom>
          <a:noFill/>
          <a:ln>
            <a:noFill/>
          </a:ln>
        </p:spPr>
        <p:txBody>
          <a:bodyPr spcFirstLastPara="1" wrap="square" lIns="92075" tIns="46025" rIns="92075" bIns="46025" anchor="ctr" anchorCtr="0">
            <a:noAutofit/>
          </a:bodyPr>
          <a:lstStyle>
            <a:lvl1pPr marR="0" lvl="0"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1pPr>
            <a:lvl2pPr marR="0" lvl="1"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2pPr>
            <a:lvl3pPr marR="0" lvl="2"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3pPr>
            <a:lvl4pPr marR="0" lvl="3"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4pPr>
            <a:lvl5pPr marR="0" lvl="4"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5pPr>
            <a:lvl6pPr marR="0" lvl="5"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6pPr>
            <a:lvl7pPr marR="0" lvl="6"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7pPr>
            <a:lvl8pPr marR="0" lvl="7"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8pPr>
            <a:lvl9pPr marR="0" lvl="8" algn="l" rtl="0">
              <a:spcBef>
                <a:spcPts val="0"/>
              </a:spcBef>
              <a:spcAft>
                <a:spcPts val="0"/>
              </a:spcAft>
              <a:buSzPts val="1400"/>
              <a:buNone/>
              <a:defRPr sz="4400" b="0" i="0" u="none" strike="noStrike" cap="none">
                <a:solidFill>
                  <a:schemeClr val="lt2"/>
                </a:solidFill>
                <a:latin typeface="Times New Roman"/>
                <a:ea typeface="Times New Roman"/>
                <a:cs typeface="Times New Roman"/>
                <a:sym typeface="Times New Roman"/>
              </a:defRPr>
            </a:lvl9pPr>
          </a:lstStyle>
          <a:p>
            <a:endParaRPr/>
          </a:p>
        </p:txBody>
      </p:sp>
      <p:sp>
        <p:nvSpPr>
          <p:cNvPr id="30" name="Google Shape;30;p23"/>
          <p:cNvSpPr txBox="1">
            <a:spLocks noGrp="1"/>
          </p:cNvSpPr>
          <p:nvPr>
            <p:ph type="body" idx="1"/>
          </p:nvPr>
        </p:nvSpPr>
        <p:spPr>
          <a:xfrm>
            <a:off x="914400" y="1981200"/>
            <a:ext cx="10363200" cy="4114800"/>
          </a:xfrm>
          <a:prstGeom prst="rect">
            <a:avLst/>
          </a:prstGeom>
          <a:noFill/>
          <a:ln>
            <a:noFill/>
          </a:ln>
        </p:spPr>
        <p:txBody>
          <a:bodyPr spcFirstLastPara="1" wrap="square" lIns="92075" tIns="46025" rIns="92075" bIns="46025" anchor="t" anchorCtr="0">
            <a:noAutofit/>
          </a:bodyPr>
          <a:lstStyle>
            <a:lvl1pPr marL="457200" marR="0" lvl="0" indent="-391160" algn="l" rtl="0">
              <a:spcBef>
                <a:spcPts val="640"/>
              </a:spcBef>
              <a:spcAft>
                <a:spcPts val="0"/>
              </a:spcAft>
              <a:buClr>
                <a:schemeClr val="accent2"/>
              </a:buClr>
              <a:buSzPts val="2560"/>
              <a:buFont typeface="Noto Sans Symbols"/>
              <a:buChar char="●"/>
              <a:defRPr sz="3200" b="1" i="0" u="none" strike="noStrike" cap="none">
                <a:solidFill>
                  <a:schemeClr val="lt1"/>
                </a:solidFill>
                <a:latin typeface="Arial"/>
                <a:ea typeface="Arial"/>
                <a:cs typeface="Arial"/>
                <a:sym typeface="Arial"/>
              </a:defRPr>
            </a:lvl1pPr>
            <a:lvl2pPr marL="914400" marR="0" lvl="1" indent="-406400" algn="l" rtl="0">
              <a:spcBef>
                <a:spcPts val="560"/>
              </a:spcBef>
              <a:spcAft>
                <a:spcPts val="0"/>
              </a:spcAft>
              <a:buClr>
                <a:schemeClr val="lt1"/>
              </a:buClr>
              <a:buSzPts val="2800"/>
              <a:buFont typeface="Arial"/>
              <a:buChar char="–"/>
              <a:defRPr sz="2800" b="1" i="0" u="none" strike="noStrike" cap="none">
                <a:solidFill>
                  <a:schemeClr val="lt1"/>
                </a:solidFill>
                <a:latin typeface="Arial"/>
                <a:ea typeface="Arial"/>
                <a:cs typeface="Arial"/>
                <a:sym typeface="Arial"/>
              </a:defRPr>
            </a:lvl2pPr>
            <a:lvl3pPr marL="1371600" marR="0" lvl="2" indent="-381000" algn="l" rtl="0">
              <a:spcBef>
                <a:spcPts val="480"/>
              </a:spcBef>
              <a:spcAft>
                <a:spcPts val="0"/>
              </a:spcAft>
              <a:buClr>
                <a:schemeClr val="accent2"/>
              </a:buClr>
              <a:buSzPts val="2400"/>
              <a:buFont typeface="Arial"/>
              <a:buChar char="•"/>
              <a:defRPr sz="2400" b="1" i="0" u="none" strike="noStrike" cap="none">
                <a:solidFill>
                  <a:schemeClr val="lt1"/>
                </a:solidFill>
                <a:latin typeface="Arial"/>
                <a:ea typeface="Arial"/>
                <a:cs typeface="Arial"/>
                <a:sym typeface="Arial"/>
              </a:defRPr>
            </a:lvl3pPr>
            <a:lvl4pPr marL="1828800" marR="0" lvl="3" indent="-355600" algn="l" rtl="0">
              <a:spcBef>
                <a:spcPts val="400"/>
              </a:spcBef>
              <a:spcAft>
                <a:spcPts val="0"/>
              </a:spcAft>
              <a:buClr>
                <a:schemeClr val="lt1"/>
              </a:buClr>
              <a:buSzPts val="2000"/>
              <a:buFont typeface="Arial"/>
              <a:buChar char="–"/>
              <a:defRPr sz="2000" b="1" i="0" u="none" strike="noStrike" cap="none">
                <a:solidFill>
                  <a:schemeClr val="lt1"/>
                </a:solidFill>
                <a:latin typeface="Arial"/>
                <a:ea typeface="Arial"/>
                <a:cs typeface="Arial"/>
                <a:sym typeface="Arial"/>
              </a:defRPr>
            </a:lvl4pPr>
            <a:lvl5pPr marL="2286000" marR="0" lvl="4" indent="-355600" algn="l" rtl="0">
              <a:spcBef>
                <a:spcPts val="400"/>
              </a:spcBef>
              <a:spcAft>
                <a:spcPts val="0"/>
              </a:spcAft>
              <a:buClr>
                <a:schemeClr val="accent2"/>
              </a:buClr>
              <a:buSzPts val="2000"/>
              <a:buFont typeface="Arial"/>
              <a:buChar char="•"/>
              <a:defRPr sz="2000" b="1"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9pPr>
          </a:lstStyle>
          <a:p>
            <a:endParaRPr/>
          </a:p>
        </p:txBody>
      </p:sp>
      <p:sp>
        <p:nvSpPr>
          <p:cNvPr id="31" name="Google Shape;31;p23"/>
          <p:cNvSpPr txBox="1">
            <a:spLocks noGrp="1"/>
          </p:cNvSpPr>
          <p:nvPr>
            <p:ph type="dt" idx="10"/>
          </p:nvPr>
        </p:nvSpPr>
        <p:spPr>
          <a:xfrm>
            <a:off x="914400" y="6172200"/>
            <a:ext cx="2540000" cy="457200"/>
          </a:xfrm>
          <a:prstGeom prst="rect">
            <a:avLst/>
          </a:prstGeom>
          <a:noFill/>
          <a:ln>
            <a:noFill/>
          </a:ln>
        </p:spPr>
        <p:txBody>
          <a:bodyPr spcFirstLastPara="1" wrap="square" lIns="92075" tIns="46025" rIns="92075" bIns="46025" anchor="ctr" anchorCtr="0">
            <a:noAutofit/>
          </a:bodyPr>
          <a:lstStyle>
            <a:lvl1pPr marR="0" lvl="0" algn="l" rtl="0">
              <a:lnSpc>
                <a:spcPct val="100000"/>
              </a:lnSpc>
              <a:spcBef>
                <a:spcPts val="0"/>
              </a:spcBef>
              <a:spcAft>
                <a:spcPts val="0"/>
              </a:spcAft>
              <a:buSzPts val="1400"/>
              <a:buNone/>
              <a:defRPr sz="2400" b="0" i="0" u="none">
                <a:solidFill>
                  <a:schemeClr val="lt1"/>
                </a:solidFill>
                <a:latin typeface="Times New Roman"/>
                <a:ea typeface="Times New Roman"/>
                <a:cs typeface="Times New Roman"/>
                <a:sym typeface="Times New Roman"/>
              </a:defRPr>
            </a:lvl1pPr>
            <a:lvl2pPr marR="0" lvl="1"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2pPr>
            <a:lvl3pPr marR="0" lvl="2"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3pPr>
            <a:lvl4pPr marR="0" lvl="3"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4pPr>
            <a:lvl5pPr marR="0" lvl="4"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5pPr>
            <a:lvl6pPr marR="0" lvl="5"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6pPr>
            <a:lvl7pPr marR="0" lvl="6"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7pPr>
            <a:lvl8pPr marR="0" lvl="7"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8pPr>
            <a:lvl9pPr marR="0" lvl="8"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9pPr>
          </a:lstStyle>
          <a:p>
            <a:endParaRPr/>
          </a:p>
        </p:txBody>
      </p:sp>
      <p:sp>
        <p:nvSpPr>
          <p:cNvPr id="32" name="Google Shape;32;p23"/>
          <p:cNvSpPr txBox="1">
            <a:spLocks noGrp="1"/>
          </p:cNvSpPr>
          <p:nvPr>
            <p:ph type="ftr" idx="11"/>
          </p:nvPr>
        </p:nvSpPr>
        <p:spPr>
          <a:xfrm>
            <a:off x="4165600" y="6172200"/>
            <a:ext cx="3860800" cy="457200"/>
          </a:xfrm>
          <a:prstGeom prst="rect">
            <a:avLst/>
          </a:prstGeom>
          <a:noFill/>
          <a:ln>
            <a:noFill/>
          </a:ln>
        </p:spPr>
        <p:txBody>
          <a:bodyPr spcFirstLastPara="1" wrap="square" lIns="92075" tIns="46025" rIns="92075" bIns="46025" anchor="ctr" anchorCtr="0">
            <a:noAutofit/>
          </a:bodyPr>
          <a:lstStyle>
            <a:lvl1pPr marR="0" lvl="0" algn="l" rtl="0">
              <a:lnSpc>
                <a:spcPct val="100000"/>
              </a:lnSpc>
              <a:spcBef>
                <a:spcPts val="0"/>
              </a:spcBef>
              <a:spcAft>
                <a:spcPts val="0"/>
              </a:spcAft>
              <a:buSzPts val="1400"/>
              <a:buNone/>
              <a:defRPr sz="2400" b="0" i="0" u="none">
                <a:solidFill>
                  <a:schemeClr val="lt1"/>
                </a:solidFill>
                <a:latin typeface="Times New Roman"/>
                <a:ea typeface="Times New Roman"/>
                <a:cs typeface="Times New Roman"/>
                <a:sym typeface="Times New Roman"/>
              </a:defRPr>
            </a:lvl1pPr>
            <a:lvl2pPr marR="0" lvl="1"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2pPr>
            <a:lvl3pPr marR="0" lvl="2"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3pPr>
            <a:lvl4pPr marR="0" lvl="3"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4pPr>
            <a:lvl5pPr marR="0" lvl="4"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5pPr>
            <a:lvl6pPr marR="0" lvl="5"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6pPr>
            <a:lvl7pPr marR="0" lvl="6"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7pPr>
            <a:lvl8pPr marR="0" lvl="7"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8pPr>
            <a:lvl9pPr marR="0" lvl="8" algn="l" rtl="0">
              <a:lnSpc>
                <a:spcPct val="100000"/>
              </a:lnSpc>
              <a:spcBef>
                <a:spcPts val="0"/>
              </a:spcBef>
              <a:spcAft>
                <a:spcPts val="0"/>
              </a:spcAft>
              <a:buSzPts val="1400"/>
              <a:buNone/>
              <a:defRPr sz="2400" b="0" i="0" u="none" strike="noStrike" cap="none">
                <a:solidFill>
                  <a:schemeClr val="lt1"/>
                </a:solidFill>
                <a:latin typeface="Times New Roman"/>
                <a:ea typeface="Times New Roman"/>
                <a:cs typeface="Times New Roman"/>
                <a:sym typeface="Times New Roman"/>
              </a:defRPr>
            </a:lvl9pPr>
          </a:lstStyle>
          <a:p>
            <a:endParaRPr/>
          </a:p>
        </p:txBody>
      </p:sp>
      <p:sp>
        <p:nvSpPr>
          <p:cNvPr id="33" name="Google Shape;33;p23"/>
          <p:cNvSpPr txBox="1">
            <a:spLocks noGrp="1"/>
          </p:cNvSpPr>
          <p:nvPr>
            <p:ph type="sldNum" idx="12"/>
          </p:nvPr>
        </p:nvSpPr>
        <p:spPr>
          <a:xfrm>
            <a:off x="8737600" y="6172200"/>
            <a:ext cx="2540000" cy="457200"/>
          </a:xfrm>
          <a:prstGeom prst="rect">
            <a:avLst/>
          </a:prstGeom>
          <a:noFill/>
          <a:ln>
            <a:noFill/>
          </a:ln>
        </p:spPr>
        <p:txBody>
          <a:bodyPr spcFirstLastPara="1" wrap="square" lIns="92075" tIns="46025" rIns="92075" bIns="46025" anchor="ctr" anchorCtr="0">
            <a:noAutofit/>
          </a:bodyPr>
          <a:lstStyle>
            <a:lvl1pPr marL="0" marR="0" lvl="0"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1pPr>
            <a:lvl2pPr marL="0" marR="0" lvl="1"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2pPr>
            <a:lvl3pPr marL="0" marR="0" lvl="2"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3pPr>
            <a:lvl4pPr marL="0" marR="0" lvl="3"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4pPr>
            <a:lvl5pPr marL="0" marR="0" lvl="4"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5pPr>
            <a:lvl6pPr marL="0" marR="0" lvl="5"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6pPr>
            <a:lvl7pPr marL="0" marR="0" lvl="6"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7pPr>
            <a:lvl8pPr marL="0" marR="0" lvl="7"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8pPr>
            <a:lvl9pPr marL="0" marR="0" lvl="8" indent="0" algn="r" rtl="0">
              <a:lnSpc>
                <a:spcPct val="100000"/>
              </a:lnSpc>
              <a:spcBef>
                <a:spcPts val="0"/>
              </a:spcBef>
              <a:spcAft>
                <a:spcPts val="0"/>
              </a:spcAft>
              <a:buClr>
                <a:schemeClr val="lt1"/>
              </a:buClr>
              <a:buSzPts val="1400"/>
              <a:buFont typeface="Times New Roman"/>
              <a:buNone/>
              <a:defRPr sz="1400" b="0" i="0" u="none">
                <a:solidFill>
                  <a:schemeClr val="lt1"/>
                </a:solidFill>
                <a:latin typeface="Times New Roman"/>
                <a:ea typeface="Times New Roman"/>
                <a:cs typeface="Times New Roman"/>
                <a:sym typeface="Times New Roman"/>
              </a:defRPr>
            </a:lvl9pPr>
          </a:lstStyle>
          <a:p>
            <a:fld id="{00000000-1234-1234-1234-123412341234}" type="slidenum">
              <a:rPr lang="en-US" smtClean="0"/>
              <a:pPr/>
              <a:t>‹#›</a:t>
            </a:fld>
            <a:endParaRPr lang="en-US">
              <a:solidFill>
                <a:srgbClr val="000000"/>
              </a:solidFill>
              <a:latin typeface="Arial"/>
              <a:ea typeface="Arial"/>
              <a:cs typeface="Arial"/>
              <a:sym typeface="Arial"/>
            </a:endParaRPr>
          </a:p>
        </p:txBody>
      </p:sp>
    </p:spTree>
    <p:extLst>
      <p:ext uri="{BB962C8B-B14F-4D97-AF65-F5344CB8AC3E}">
        <p14:creationId xmlns:p14="http://schemas.microsoft.com/office/powerpoint/2010/main" val="2535359053"/>
      </p:ext>
    </p:extLst>
  </p:cSld>
  <p:clrMap bg1="lt1" tx1="dk1" bg2="dk2" tx2="lt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44.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44.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44.xml"/><Relationship Id="rId5" Type="http://schemas.openxmlformats.org/officeDocument/2006/relationships/image" Target="../media/image27.pn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44.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4.xml"/><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4.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18.xml"/><Relationship Id="rId4" Type="http://schemas.openxmlformats.org/officeDocument/2006/relationships/image" Target="../media/image15.jp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hyperlink" Target="http://www.uchicagomedicine.org/-/media/pdfs/adult-pdfs/community/chna-community-profiles/riverdale-community-profile.pdf)" TargetMode="External"/><Relationship Id="rId2" Type="http://schemas.openxmlformats.org/officeDocument/2006/relationships/image" Target="../media/image34.png"/><Relationship Id="rId1" Type="http://schemas.openxmlformats.org/officeDocument/2006/relationships/slideLayout" Target="../slideLayouts/slideLayout3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4.png"/><Relationship Id="rId1" Type="http://schemas.openxmlformats.org/officeDocument/2006/relationships/slideLayout" Target="../slideLayouts/slideLayout34.xml"/><Relationship Id="rId5" Type="http://schemas.openxmlformats.org/officeDocument/2006/relationships/image" Target="../media/image36.png"/><Relationship Id="rId4" Type="http://schemas.openxmlformats.org/officeDocument/2006/relationships/image" Target="../media/image41.png"/></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png"/><Relationship Id="rId1" Type="http://schemas.openxmlformats.org/officeDocument/2006/relationships/slideLayout" Target="../slideLayouts/slideLayout36.xml"/><Relationship Id="rId4" Type="http://schemas.openxmlformats.org/officeDocument/2006/relationships/hyperlink" Target="http://www.resilia.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7.xml"/><Relationship Id="rId5" Type="http://schemas.openxmlformats.org/officeDocument/2006/relationships/image" Target="../media/image48.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hyperlink" Target="mailto:chicagosouthsidebirthcenter@gmail.com" TargetMode="External"/><Relationship Id="rId2" Type="http://schemas.openxmlformats.org/officeDocument/2006/relationships/image" Target="../media/image29.png"/><Relationship Id="rId1" Type="http://schemas.openxmlformats.org/officeDocument/2006/relationships/slideLayout" Target="../slideLayouts/slideLayout34.xml"/><Relationship Id="rId4" Type="http://schemas.openxmlformats.org/officeDocument/2006/relationships/hyperlink" Target="http://www.chicagosouthsidebirthcenter.org/"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0.jpg"/><Relationship Id="rId1" Type="http://schemas.openxmlformats.org/officeDocument/2006/relationships/slideLayout" Target="../slideLayouts/slideLayout39.xml"/><Relationship Id="rId6" Type="http://schemas.openxmlformats.org/officeDocument/2006/relationships/image" Target="../media/image54.jpg"/><Relationship Id="rId5" Type="http://schemas.openxmlformats.org/officeDocument/2006/relationships/image" Target="../media/image53.jpg"/><Relationship Id="rId4" Type="http://schemas.openxmlformats.org/officeDocument/2006/relationships/image" Target="../media/image52.jp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43.xml"/><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8" Type="http://schemas.openxmlformats.org/officeDocument/2006/relationships/image" Target="../media/image61.jpg"/><Relationship Id="rId3" Type="http://schemas.openxmlformats.org/officeDocument/2006/relationships/image" Target="../media/image56.jpg"/><Relationship Id="rId7" Type="http://schemas.openxmlformats.org/officeDocument/2006/relationships/image" Target="../media/image60.jpg"/><Relationship Id="rId2" Type="http://schemas.openxmlformats.org/officeDocument/2006/relationships/image" Target="../media/image55.png"/><Relationship Id="rId1" Type="http://schemas.openxmlformats.org/officeDocument/2006/relationships/slideLayout" Target="../slideLayouts/slideLayout39.xml"/><Relationship Id="rId6" Type="http://schemas.openxmlformats.org/officeDocument/2006/relationships/image" Target="../media/image59.jpg"/><Relationship Id="rId5" Type="http://schemas.openxmlformats.org/officeDocument/2006/relationships/image" Target="../media/image58.jpg"/><Relationship Id="rId4" Type="http://schemas.openxmlformats.org/officeDocument/2006/relationships/image" Target="../media/image57.jpg"/><Relationship Id="rId9" Type="http://schemas.openxmlformats.org/officeDocument/2006/relationships/image" Target="../media/image62.png"/></Relationships>
</file>

<file path=ppt/slides/_rels/slide41.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g"/><Relationship Id="rId1" Type="http://schemas.openxmlformats.org/officeDocument/2006/relationships/slideLayout" Target="../slideLayouts/slideLayout41.xml"/><Relationship Id="rId4" Type="http://schemas.openxmlformats.org/officeDocument/2006/relationships/image" Target="../media/image68.jpg"/></Relationships>
</file>

<file path=ppt/slides/_rels/slide45.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70.png"/><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jpg"/><Relationship Id="rId1" Type="http://schemas.openxmlformats.org/officeDocument/2006/relationships/slideLayout" Target="../slideLayouts/slideLayout39.xml"/><Relationship Id="rId6" Type="http://schemas.openxmlformats.org/officeDocument/2006/relationships/image" Target="../media/image78.jpg"/><Relationship Id="rId5" Type="http://schemas.openxmlformats.org/officeDocument/2006/relationships/image" Target="../media/image77.png"/><Relationship Id="rId4" Type="http://schemas.openxmlformats.org/officeDocument/2006/relationships/image" Target="../media/image76.png"/><Relationship Id="rId9" Type="http://schemas.openxmlformats.org/officeDocument/2006/relationships/image" Target="../media/image81.jpg"/></Relationships>
</file>

<file path=ppt/slides/_rels/slide4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image" Target="../media/image88.png"/></Relationships>
</file>

<file path=ppt/slides/_rels/slide5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image" Target="../media/image9.jpg"/><Relationship Id="rId1" Type="http://schemas.openxmlformats.org/officeDocument/2006/relationships/slideLayout" Target="../slideLayouts/slideLayout18.xml"/><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80" y="6202807"/>
            <a:ext cx="12192000" cy="655320"/>
            <a:chOff x="380" y="6202807"/>
            <a:chExt cx="12192000" cy="655320"/>
          </a:xfrm>
        </p:grpSpPr>
        <p:pic>
          <p:nvPicPr>
            <p:cNvPr id="3" name="object 3"/>
            <p:cNvPicPr/>
            <p:nvPr/>
          </p:nvPicPr>
          <p:blipFill>
            <a:blip r:embed="rId3" cstate="print"/>
            <a:stretch>
              <a:fillRect/>
            </a:stretch>
          </p:blipFill>
          <p:spPr>
            <a:xfrm>
              <a:off x="3048" y="6220206"/>
              <a:ext cx="12188951" cy="637794"/>
            </a:xfrm>
            <a:prstGeom prst="rect">
              <a:avLst/>
            </a:prstGeom>
          </p:spPr>
        </p:pic>
        <p:sp>
          <p:nvSpPr>
            <p:cNvPr id="4" name="object 4"/>
            <p:cNvSpPr/>
            <p:nvPr/>
          </p:nvSpPr>
          <p:spPr>
            <a:xfrm>
              <a:off x="380" y="6202807"/>
              <a:ext cx="12192000" cy="12700"/>
            </a:xfrm>
            <a:custGeom>
              <a:avLst/>
              <a:gdLst/>
              <a:ahLst/>
              <a:cxnLst/>
              <a:rect l="l" t="t" r="r" b="b"/>
              <a:pathLst>
                <a:path w="12192000" h="12700">
                  <a:moveTo>
                    <a:pt x="0" y="12700"/>
                  </a:moveTo>
                  <a:lnTo>
                    <a:pt x="12192000" y="12700"/>
                  </a:lnTo>
                  <a:lnTo>
                    <a:pt x="12192000" y="0"/>
                  </a:lnTo>
                  <a:lnTo>
                    <a:pt x="0" y="0"/>
                  </a:lnTo>
                  <a:lnTo>
                    <a:pt x="0" y="12700"/>
                  </a:lnTo>
                  <a:close/>
                </a:path>
              </a:pathLst>
            </a:custGeom>
            <a:solidFill>
              <a:srgbClr val="232852"/>
            </a:solidFill>
          </p:spPr>
          <p:txBody>
            <a:bodyPr wrap="square" lIns="0" tIns="0" rIns="0" bIns="0" rtlCol="0"/>
            <a:lstStyle/>
            <a:p>
              <a:endParaRPr/>
            </a:p>
          </p:txBody>
        </p:sp>
      </p:grpSp>
      <p:pic>
        <p:nvPicPr>
          <p:cNvPr id="7" name="object 7"/>
          <p:cNvPicPr/>
          <p:nvPr/>
        </p:nvPicPr>
        <p:blipFill>
          <a:blip r:embed="rId4" cstate="print"/>
          <a:stretch>
            <a:fillRect/>
          </a:stretch>
        </p:blipFill>
        <p:spPr>
          <a:xfrm>
            <a:off x="8595930" y="5514943"/>
            <a:ext cx="3257719" cy="517175"/>
          </a:xfrm>
          <a:prstGeom prst="rect">
            <a:avLst/>
          </a:prstGeom>
        </p:spPr>
      </p:pic>
      <p:sp>
        <p:nvSpPr>
          <p:cNvPr id="8" name="object 8"/>
          <p:cNvSpPr txBox="1"/>
          <p:nvPr/>
        </p:nvSpPr>
        <p:spPr>
          <a:xfrm>
            <a:off x="4629770" y="3429000"/>
            <a:ext cx="6690995" cy="1397000"/>
          </a:xfrm>
          <a:prstGeom prst="rect">
            <a:avLst/>
          </a:prstGeom>
        </p:spPr>
        <p:txBody>
          <a:bodyPr vert="horz" wrap="square" lIns="0" tIns="12700" rIns="0" bIns="0" rtlCol="0">
            <a:spAutoFit/>
          </a:bodyPr>
          <a:lstStyle/>
          <a:p>
            <a:pPr algn="ctr">
              <a:lnSpc>
                <a:spcPct val="100000"/>
              </a:lnSpc>
              <a:spcBef>
                <a:spcPts val="100"/>
              </a:spcBef>
            </a:pPr>
            <a:r>
              <a:rPr sz="1800" i="1" dirty="0">
                <a:latin typeface="Palatino Linotype"/>
                <a:cs typeface="Palatino Linotype"/>
              </a:rPr>
              <a:t>Please</a:t>
            </a:r>
            <a:r>
              <a:rPr sz="1800" i="1" spc="-20" dirty="0">
                <a:latin typeface="Palatino Linotype"/>
                <a:cs typeface="Palatino Linotype"/>
              </a:rPr>
              <a:t> </a:t>
            </a:r>
            <a:r>
              <a:rPr sz="1800" i="1" dirty="0">
                <a:latin typeface="Palatino Linotype"/>
                <a:cs typeface="Palatino Linotype"/>
              </a:rPr>
              <a:t>be</a:t>
            </a:r>
            <a:r>
              <a:rPr sz="1800" i="1" spc="-5" dirty="0">
                <a:latin typeface="Palatino Linotype"/>
                <a:cs typeface="Palatino Linotype"/>
              </a:rPr>
              <a:t> </a:t>
            </a:r>
            <a:r>
              <a:rPr sz="1800" i="1" dirty="0">
                <a:latin typeface="Palatino Linotype"/>
                <a:cs typeface="Palatino Linotype"/>
              </a:rPr>
              <a:t>advised</a:t>
            </a:r>
            <a:r>
              <a:rPr sz="1800" i="1" spc="-10" dirty="0">
                <a:latin typeface="Palatino Linotype"/>
                <a:cs typeface="Palatino Linotype"/>
              </a:rPr>
              <a:t> </a:t>
            </a:r>
            <a:r>
              <a:rPr sz="1800" i="1" dirty="0">
                <a:latin typeface="Palatino Linotype"/>
                <a:cs typeface="Palatino Linotype"/>
              </a:rPr>
              <a:t>that this</a:t>
            </a:r>
            <a:r>
              <a:rPr sz="1800" i="1" spc="-10" dirty="0">
                <a:latin typeface="Palatino Linotype"/>
                <a:cs typeface="Palatino Linotype"/>
              </a:rPr>
              <a:t> </a:t>
            </a:r>
            <a:r>
              <a:rPr sz="1800" i="1" dirty="0">
                <a:latin typeface="Palatino Linotype"/>
                <a:cs typeface="Palatino Linotype"/>
              </a:rPr>
              <a:t>Zoom</a:t>
            </a:r>
            <a:r>
              <a:rPr sz="1800" i="1" spc="-5" dirty="0">
                <a:latin typeface="Palatino Linotype"/>
                <a:cs typeface="Palatino Linotype"/>
              </a:rPr>
              <a:t> </a:t>
            </a:r>
            <a:r>
              <a:rPr sz="1800" i="1" dirty="0">
                <a:latin typeface="Palatino Linotype"/>
                <a:cs typeface="Palatino Linotype"/>
              </a:rPr>
              <a:t>meeting</a:t>
            </a:r>
            <a:r>
              <a:rPr sz="1800" i="1" spc="-20" dirty="0">
                <a:latin typeface="Palatino Linotype"/>
                <a:cs typeface="Palatino Linotype"/>
              </a:rPr>
              <a:t> </a:t>
            </a:r>
            <a:r>
              <a:rPr sz="1800" i="1" dirty="0">
                <a:latin typeface="Palatino Linotype"/>
                <a:cs typeface="Palatino Linotype"/>
              </a:rPr>
              <a:t>is</a:t>
            </a:r>
            <a:r>
              <a:rPr sz="1800" i="1" spc="-5" dirty="0">
                <a:latin typeface="Palatino Linotype"/>
                <a:cs typeface="Palatino Linotype"/>
              </a:rPr>
              <a:t> </a:t>
            </a:r>
            <a:r>
              <a:rPr sz="1800" i="1" dirty="0">
                <a:latin typeface="Palatino Linotype"/>
                <a:cs typeface="Palatino Linotype"/>
              </a:rPr>
              <a:t>being </a:t>
            </a:r>
            <a:r>
              <a:rPr sz="1800" i="1" spc="-10" dirty="0">
                <a:latin typeface="Palatino Linotype"/>
                <a:cs typeface="Palatino Linotype"/>
              </a:rPr>
              <a:t>recorded.</a:t>
            </a:r>
            <a:endParaRPr sz="1800" dirty="0">
              <a:latin typeface="Palatino Linotype"/>
              <a:cs typeface="Palatino Linotype"/>
            </a:endParaRPr>
          </a:p>
          <a:p>
            <a:pPr algn="ctr">
              <a:lnSpc>
                <a:spcPct val="100000"/>
              </a:lnSpc>
            </a:pPr>
            <a:r>
              <a:rPr sz="1800" i="1" dirty="0">
                <a:latin typeface="Palatino Linotype"/>
                <a:cs typeface="Palatino Linotype"/>
              </a:rPr>
              <a:t>All</a:t>
            </a:r>
            <a:r>
              <a:rPr sz="1800" i="1" spc="-30" dirty="0">
                <a:latin typeface="Palatino Linotype"/>
                <a:cs typeface="Palatino Linotype"/>
              </a:rPr>
              <a:t> </a:t>
            </a:r>
            <a:r>
              <a:rPr sz="1800" i="1" dirty="0">
                <a:latin typeface="Palatino Linotype"/>
                <a:cs typeface="Palatino Linotype"/>
              </a:rPr>
              <a:t>attendees</a:t>
            </a:r>
            <a:r>
              <a:rPr sz="1800" i="1" spc="-20" dirty="0">
                <a:latin typeface="Palatino Linotype"/>
                <a:cs typeface="Palatino Linotype"/>
              </a:rPr>
              <a:t> </a:t>
            </a:r>
            <a:r>
              <a:rPr sz="1800" i="1" dirty="0">
                <a:latin typeface="Palatino Linotype"/>
                <a:cs typeface="Palatino Linotype"/>
              </a:rPr>
              <a:t>are</a:t>
            </a:r>
            <a:r>
              <a:rPr sz="1800" i="1" spc="-15" dirty="0">
                <a:latin typeface="Palatino Linotype"/>
                <a:cs typeface="Palatino Linotype"/>
              </a:rPr>
              <a:t> </a:t>
            </a:r>
            <a:r>
              <a:rPr sz="1800" i="1" dirty="0">
                <a:latin typeface="Palatino Linotype"/>
                <a:cs typeface="Palatino Linotype"/>
              </a:rPr>
              <a:t>muted</a:t>
            </a:r>
            <a:r>
              <a:rPr sz="1800" i="1" spc="-20" dirty="0">
                <a:latin typeface="Palatino Linotype"/>
                <a:cs typeface="Palatino Linotype"/>
              </a:rPr>
              <a:t> </a:t>
            </a:r>
            <a:r>
              <a:rPr sz="1800" i="1" dirty="0">
                <a:latin typeface="Palatino Linotype"/>
                <a:cs typeface="Palatino Linotype"/>
              </a:rPr>
              <a:t>upon</a:t>
            </a:r>
            <a:r>
              <a:rPr sz="1800" i="1" spc="-10" dirty="0">
                <a:latin typeface="Palatino Linotype"/>
                <a:cs typeface="Palatino Linotype"/>
              </a:rPr>
              <a:t> entry.</a:t>
            </a:r>
            <a:endParaRPr sz="1800" dirty="0">
              <a:latin typeface="Palatino Linotype"/>
              <a:cs typeface="Palatino Linotype"/>
            </a:endParaRPr>
          </a:p>
          <a:p>
            <a:pPr>
              <a:lnSpc>
                <a:spcPct val="100000"/>
              </a:lnSpc>
            </a:pPr>
            <a:endParaRPr sz="1600" dirty="0">
              <a:latin typeface="Palatino Linotype"/>
              <a:cs typeface="Palatino Linotype"/>
            </a:endParaRPr>
          </a:p>
          <a:p>
            <a:pPr algn="ctr">
              <a:lnSpc>
                <a:spcPct val="100000"/>
              </a:lnSpc>
            </a:pPr>
            <a:r>
              <a:rPr sz="1800" i="1" dirty="0">
                <a:latin typeface="Palatino Linotype"/>
                <a:cs typeface="Palatino Linotype"/>
              </a:rPr>
              <a:t>Please</a:t>
            </a:r>
            <a:r>
              <a:rPr sz="1800" i="1" spc="-25" dirty="0">
                <a:latin typeface="Palatino Linotype"/>
                <a:cs typeface="Palatino Linotype"/>
              </a:rPr>
              <a:t> </a:t>
            </a:r>
            <a:r>
              <a:rPr sz="1800" i="1" dirty="0">
                <a:latin typeface="Palatino Linotype"/>
                <a:cs typeface="Palatino Linotype"/>
              </a:rPr>
              <a:t>use</a:t>
            </a:r>
            <a:r>
              <a:rPr sz="1800" i="1" spc="-15" dirty="0">
                <a:latin typeface="Palatino Linotype"/>
                <a:cs typeface="Palatino Linotype"/>
              </a:rPr>
              <a:t> </a:t>
            </a:r>
            <a:r>
              <a:rPr sz="1800" i="1" dirty="0">
                <a:latin typeface="Palatino Linotype"/>
                <a:cs typeface="Palatino Linotype"/>
              </a:rPr>
              <a:t>the</a:t>
            </a:r>
            <a:r>
              <a:rPr sz="1800" i="1" spc="-10" dirty="0">
                <a:latin typeface="Palatino Linotype"/>
                <a:cs typeface="Palatino Linotype"/>
              </a:rPr>
              <a:t> </a:t>
            </a:r>
            <a:r>
              <a:rPr sz="1800" i="1" dirty="0">
                <a:latin typeface="Palatino Linotype"/>
                <a:cs typeface="Palatino Linotype"/>
              </a:rPr>
              <a:t>chat</a:t>
            </a:r>
            <a:r>
              <a:rPr sz="1800" i="1" spc="-5" dirty="0">
                <a:latin typeface="Palatino Linotype"/>
                <a:cs typeface="Palatino Linotype"/>
              </a:rPr>
              <a:t> </a:t>
            </a:r>
            <a:r>
              <a:rPr sz="1800" i="1" dirty="0">
                <a:latin typeface="Palatino Linotype"/>
                <a:cs typeface="Palatino Linotype"/>
              </a:rPr>
              <a:t>function</a:t>
            </a:r>
            <a:r>
              <a:rPr sz="1800" i="1" spc="-5" dirty="0">
                <a:latin typeface="Palatino Linotype"/>
                <a:cs typeface="Palatino Linotype"/>
              </a:rPr>
              <a:t> </a:t>
            </a:r>
            <a:r>
              <a:rPr sz="1800" i="1" dirty="0">
                <a:latin typeface="Palatino Linotype"/>
                <a:cs typeface="Palatino Linotype"/>
              </a:rPr>
              <a:t>for</a:t>
            </a:r>
            <a:r>
              <a:rPr sz="1800" i="1" spc="-15" dirty="0">
                <a:latin typeface="Palatino Linotype"/>
                <a:cs typeface="Palatino Linotype"/>
              </a:rPr>
              <a:t> </a:t>
            </a:r>
            <a:r>
              <a:rPr sz="1800" i="1" dirty="0">
                <a:latin typeface="Palatino Linotype"/>
                <a:cs typeface="Palatino Linotype"/>
              </a:rPr>
              <a:t>questions</a:t>
            </a:r>
            <a:r>
              <a:rPr sz="1800" i="1" spc="-10" dirty="0">
                <a:latin typeface="Palatino Linotype"/>
                <a:cs typeface="Palatino Linotype"/>
              </a:rPr>
              <a:t> </a:t>
            </a:r>
            <a:r>
              <a:rPr sz="1800" i="1" dirty="0">
                <a:latin typeface="Palatino Linotype"/>
                <a:cs typeface="Palatino Linotype"/>
              </a:rPr>
              <a:t>and</a:t>
            </a:r>
            <a:r>
              <a:rPr sz="1800" i="1" spc="-15" dirty="0">
                <a:latin typeface="Palatino Linotype"/>
                <a:cs typeface="Palatino Linotype"/>
              </a:rPr>
              <a:t> </a:t>
            </a:r>
            <a:r>
              <a:rPr sz="1800" i="1" dirty="0">
                <a:latin typeface="Palatino Linotype"/>
                <a:cs typeface="Palatino Linotype"/>
              </a:rPr>
              <a:t>technical assistance</a:t>
            </a:r>
            <a:r>
              <a:rPr sz="1800" i="1" spc="-10" dirty="0">
                <a:latin typeface="Palatino Linotype"/>
                <a:cs typeface="Palatino Linotype"/>
              </a:rPr>
              <a:t> needs.</a:t>
            </a:r>
            <a:endParaRPr sz="1800" dirty="0">
              <a:latin typeface="Palatino Linotype"/>
              <a:cs typeface="Palatino Linotype"/>
            </a:endParaRPr>
          </a:p>
          <a:p>
            <a:pPr algn="ctr">
              <a:lnSpc>
                <a:spcPct val="100000"/>
              </a:lnSpc>
            </a:pPr>
            <a:r>
              <a:rPr sz="1800" i="1" spc="-50" dirty="0">
                <a:latin typeface="Palatino Linotype"/>
                <a:cs typeface="Palatino Linotype"/>
              </a:rPr>
              <a:t>You</a:t>
            </a:r>
            <a:r>
              <a:rPr sz="1800" i="1" spc="-20" dirty="0">
                <a:latin typeface="Palatino Linotype"/>
                <a:cs typeface="Palatino Linotype"/>
              </a:rPr>
              <a:t> </a:t>
            </a:r>
            <a:r>
              <a:rPr sz="1800" i="1" dirty="0">
                <a:latin typeface="Palatino Linotype"/>
                <a:cs typeface="Palatino Linotype"/>
              </a:rPr>
              <a:t>can</a:t>
            </a:r>
            <a:r>
              <a:rPr sz="1800" i="1" spc="-10" dirty="0">
                <a:latin typeface="Palatino Linotype"/>
                <a:cs typeface="Palatino Linotype"/>
              </a:rPr>
              <a:t> </a:t>
            </a:r>
            <a:r>
              <a:rPr sz="1800" i="1" dirty="0">
                <a:latin typeface="Palatino Linotype"/>
                <a:cs typeface="Palatino Linotype"/>
              </a:rPr>
              <a:t>also</a:t>
            </a:r>
            <a:r>
              <a:rPr sz="1800" i="1" spc="-20" dirty="0">
                <a:latin typeface="Palatino Linotype"/>
                <a:cs typeface="Palatino Linotype"/>
              </a:rPr>
              <a:t> </a:t>
            </a:r>
            <a:r>
              <a:rPr sz="1800" i="1" dirty="0">
                <a:latin typeface="Palatino Linotype"/>
                <a:cs typeface="Palatino Linotype"/>
              </a:rPr>
              <a:t>email</a:t>
            </a:r>
            <a:r>
              <a:rPr sz="1800" i="1" spc="-20" dirty="0">
                <a:latin typeface="Palatino Linotype"/>
                <a:cs typeface="Palatino Linotype"/>
              </a:rPr>
              <a:t> </a:t>
            </a:r>
            <a:r>
              <a:rPr lang="en-US" sz="1800" i="1" dirty="0">
                <a:latin typeface="Palatino Linotype"/>
                <a:cs typeface="Palatino Linotype"/>
              </a:rPr>
              <a:t>Lauren at lsayah2@uic.edu</a:t>
            </a:r>
            <a:endParaRPr sz="1800" dirty="0">
              <a:latin typeface="Palatino Linotype"/>
              <a:cs typeface="Palatino Linotype"/>
            </a:endParaRPr>
          </a:p>
        </p:txBody>
      </p:sp>
      <p:grpSp>
        <p:nvGrpSpPr>
          <p:cNvPr id="9" name="object 9"/>
          <p:cNvGrpSpPr/>
          <p:nvPr/>
        </p:nvGrpSpPr>
        <p:grpSpPr>
          <a:xfrm>
            <a:off x="4933188" y="4872993"/>
            <a:ext cx="6059805" cy="936625"/>
            <a:chOff x="4933188" y="4777199"/>
            <a:chExt cx="6059805" cy="936625"/>
          </a:xfrm>
        </p:grpSpPr>
        <p:pic>
          <p:nvPicPr>
            <p:cNvPr id="10" name="object 10"/>
            <p:cNvPicPr/>
            <p:nvPr/>
          </p:nvPicPr>
          <p:blipFill>
            <a:blip r:embed="rId5" cstate="print"/>
            <a:stretch>
              <a:fillRect/>
            </a:stretch>
          </p:blipFill>
          <p:spPr>
            <a:xfrm>
              <a:off x="4933188" y="4777199"/>
              <a:ext cx="6059423" cy="424415"/>
            </a:xfrm>
            <a:prstGeom prst="rect">
              <a:avLst/>
            </a:prstGeom>
          </p:spPr>
        </p:pic>
        <p:pic>
          <p:nvPicPr>
            <p:cNvPr id="11" name="object 11"/>
            <p:cNvPicPr/>
            <p:nvPr/>
          </p:nvPicPr>
          <p:blipFill>
            <a:blip r:embed="rId6" cstate="print"/>
            <a:stretch>
              <a:fillRect/>
            </a:stretch>
          </p:blipFill>
          <p:spPr>
            <a:xfrm>
              <a:off x="6848093" y="5236464"/>
              <a:ext cx="451865" cy="473963"/>
            </a:xfrm>
            <a:prstGeom prst="rect">
              <a:avLst/>
            </a:prstGeom>
          </p:spPr>
        </p:pic>
        <p:sp>
          <p:nvSpPr>
            <p:cNvPr id="12" name="object 12"/>
            <p:cNvSpPr/>
            <p:nvPr/>
          </p:nvSpPr>
          <p:spPr>
            <a:xfrm>
              <a:off x="6848094" y="5236463"/>
              <a:ext cx="452120" cy="474345"/>
            </a:xfrm>
            <a:custGeom>
              <a:avLst/>
              <a:gdLst/>
              <a:ahLst/>
              <a:cxnLst/>
              <a:rect l="l" t="t" r="r" b="b"/>
              <a:pathLst>
                <a:path w="452120" h="474345">
                  <a:moveTo>
                    <a:pt x="112966" y="473964"/>
                  </a:moveTo>
                  <a:lnTo>
                    <a:pt x="112966" y="225933"/>
                  </a:lnTo>
                  <a:lnTo>
                    <a:pt x="0" y="225933"/>
                  </a:lnTo>
                  <a:lnTo>
                    <a:pt x="225932" y="0"/>
                  </a:lnTo>
                  <a:lnTo>
                    <a:pt x="451865" y="225933"/>
                  </a:lnTo>
                  <a:lnTo>
                    <a:pt x="338899" y="225933"/>
                  </a:lnTo>
                  <a:lnTo>
                    <a:pt x="338899" y="473964"/>
                  </a:lnTo>
                  <a:lnTo>
                    <a:pt x="112966" y="473964"/>
                  </a:lnTo>
                  <a:close/>
                </a:path>
              </a:pathLst>
            </a:custGeom>
            <a:ln w="6350">
              <a:solidFill>
                <a:srgbClr val="297ED4"/>
              </a:solidFill>
            </a:ln>
          </p:spPr>
          <p:txBody>
            <a:bodyPr wrap="square" lIns="0" tIns="0" rIns="0" bIns="0" rtlCol="0"/>
            <a:lstStyle/>
            <a:p>
              <a:endParaRPr/>
            </a:p>
          </p:txBody>
        </p:sp>
      </p:grpSp>
      <p:pic>
        <p:nvPicPr>
          <p:cNvPr id="13" name="object 13"/>
          <p:cNvPicPr/>
          <p:nvPr/>
        </p:nvPicPr>
        <p:blipFill>
          <a:blip r:embed="rId7" cstate="print"/>
          <a:stretch>
            <a:fillRect/>
          </a:stretch>
        </p:blipFill>
        <p:spPr>
          <a:xfrm>
            <a:off x="430285" y="3620542"/>
            <a:ext cx="3989315" cy="1713458"/>
          </a:xfrm>
          <a:prstGeom prst="rect">
            <a:avLst/>
          </a:prstGeom>
        </p:spPr>
      </p:pic>
      <p:sp>
        <p:nvSpPr>
          <p:cNvPr id="14" name="object 14"/>
          <p:cNvSpPr txBox="1"/>
          <p:nvPr/>
        </p:nvSpPr>
        <p:spPr>
          <a:xfrm>
            <a:off x="11854942" y="6588542"/>
            <a:ext cx="95250" cy="167640"/>
          </a:xfrm>
          <a:prstGeom prst="rect">
            <a:avLst/>
          </a:prstGeom>
        </p:spPr>
        <p:txBody>
          <a:bodyPr vert="horz" wrap="square" lIns="0" tIns="0" rIns="0" bIns="0" rtlCol="0">
            <a:spAutoFit/>
          </a:bodyPr>
          <a:lstStyle/>
          <a:p>
            <a:pPr marL="12700">
              <a:lnSpc>
                <a:spcPts val="1125"/>
              </a:lnSpc>
            </a:pPr>
            <a:r>
              <a:rPr sz="1100" spc="-5" dirty="0">
                <a:latin typeface="Palatino Linotype"/>
                <a:cs typeface="Palatino Linotype"/>
              </a:rPr>
              <a:t>1</a:t>
            </a:r>
            <a:endParaRPr sz="1100">
              <a:latin typeface="Palatino Linotype"/>
              <a:cs typeface="Palatino Linotype"/>
            </a:endParaRPr>
          </a:p>
        </p:txBody>
      </p:sp>
      <p:sp>
        <p:nvSpPr>
          <p:cNvPr id="16" name="TextBox 15">
            <a:extLst>
              <a:ext uri="{FF2B5EF4-FFF2-40B4-BE49-F238E27FC236}">
                <a16:creationId xmlns:a16="http://schemas.microsoft.com/office/drawing/2014/main" id="{C657E251-2F1F-B715-1481-B35CB1597CB0}"/>
              </a:ext>
            </a:extLst>
          </p:cNvPr>
          <p:cNvSpPr txBox="1"/>
          <p:nvPr/>
        </p:nvSpPr>
        <p:spPr>
          <a:xfrm>
            <a:off x="381000" y="736197"/>
            <a:ext cx="11569192" cy="2123658"/>
          </a:xfrm>
          <a:prstGeom prst="rect">
            <a:avLst/>
          </a:prstGeom>
          <a:noFill/>
        </p:spPr>
        <p:txBody>
          <a:bodyPr wrap="square" rtlCol="0">
            <a:spAutoFit/>
          </a:bodyPr>
          <a:lstStyle/>
          <a:p>
            <a:pPr algn="ctr"/>
            <a:r>
              <a:rPr lang="en-US" sz="4400" b="1" dirty="0">
                <a:solidFill>
                  <a:srgbClr val="23294F"/>
                </a:solidFill>
                <a:latin typeface="Palatino Linotype" panose="02040502050505030304" pitchFamily="18" charset="0"/>
              </a:rPr>
              <a:t>Illinois Maternal Health Task Force</a:t>
            </a:r>
          </a:p>
          <a:p>
            <a:pPr algn="ctr"/>
            <a:r>
              <a:rPr lang="en-US" sz="4400" b="1" dirty="0">
                <a:solidFill>
                  <a:srgbClr val="23294F"/>
                </a:solidFill>
                <a:latin typeface="Palatino Linotype" panose="02040502050505030304" pitchFamily="18" charset="0"/>
              </a:rPr>
              <a:t>Speaker Series: Overview of Birth Centers</a:t>
            </a:r>
          </a:p>
          <a:p>
            <a:pPr algn="ctr"/>
            <a:r>
              <a:rPr lang="en-US" sz="4400" b="1" dirty="0">
                <a:solidFill>
                  <a:srgbClr val="23294F"/>
                </a:solidFill>
                <a:latin typeface="Palatino Linotype" panose="02040502050505030304" pitchFamily="18" charset="0"/>
              </a:rPr>
              <a:t>April 2</a:t>
            </a:r>
            <a:r>
              <a:rPr lang="en-US" sz="4400" b="1" baseline="30000" dirty="0">
                <a:solidFill>
                  <a:srgbClr val="23294F"/>
                </a:solidFill>
                <a:latin typeface="Palatino Linotype" panose="02040502050505030304" pitchFamily="18" charset="0"/>
              </a:rPr>
              <a:t>nd</a:t>
            </a:r>
            <a:r>
              <a:rPr lang="en-US" sz="4400" b="1" dirty="0">
                <a:solidFill>
                  <a:srgbClr val="23294F"/>
                </a:solidFill>
                <a:latin typeface="Palatino Linotype" panose="02040502050505030304" pitchFamily="18" charset="0"/>
              </a:rPr>
              <a:t>, 2024</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sp>
        <p:nvSpPr>
          <p:cNvPr id="156" name="Google Shape;156;g2c3ae3632cd_0_13"/>
          <p:cNvSpPr txBox="1">
            <a:spLocks noGrp="1"/>
          </p:cNvSpPr>
          <p:nvPr>
            <p:ph type="title"/>
          </p:nvPr>
        </p:nvSpPr>
        <p:spPr>
          <a:xfrm>
            <a:off x="2209800" y="609600"/>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BIRTH CENTERS: SAFETY</a:t>
            </a:r>
            <a:endParaRPr/>
          </a:p>
        </p:txBody>
      </p:sp>
      <p:sp>
        <p:nvSpPr>
          <p:cNvPr id="157" name="Google Shape;157;g2c3ae3632cd_0_13"/>
          <p:cNvSpPr txBox="1">
            <a:spLocks noGrp="1"/>
          </p:cNvSpPr>
          <p:nvPr>
            <p:ph type="body" idx="1"/>
          </p:nvPr>
        </p:nvSpPr>
        <p:spPr>
          <a:xfrm>
            <a:off x="2209800" y="1590738"/>
            <a:ext cx="7772400" cy="3237900"/>
          </a:xfrm>
          <a:prstGeom prst="rect">
            <a:avLst/>
          </a:prstGeom>
          <a:noFill/>
          <a:ln>
            <a:noFill/>
          </a:ln>
        </p:spPr>
        <p:txBody>
          <a:bodyPr spcFirstLastPara="1" wrap="square" lIns="92075" tIns="46025" rIns="92075" bIns="46025" anchor="t" anchorCtr="0">
            <a:noAutofit/>
          </a:bodyPr>
          <a:lstStyle/>
          <a:p>
            <a:pPr marL="0" indent="0">
              <a:spcBef>
                <a:spcPts val="640"/>
              </a:spcBef>
              <a:buNone/>
            </a:pPr>
            <a:endParaRPr sz="2200" b="0" dirty="0">
              <a:latin typeface="Times New Roman"/>
              <a:ea typeface="Times New Roman"/>
              <a:cs typeface="Times New Roman"/>
              <a:sym typeface="Times New Roman"/>
            </a:endParaRPr>
          </a:p>
          <a:p>
            <a:pPr marL="342900">
              <a:spcBef>
                <a:spcPts val="640"/>
              </a:spcBef>
              <a:buSzPts val="2200"/>
              <a:buFont typeface="Times New Roman"/>
              <a:buChar char="●"/>
            </a:pPr>
            <a:r>
              <a:rPr lang="en-US" sz="2200" b="0" dirty="0">
                <a:latin typeface="Times New Roman"/>
                <a:ea typeface="Times New Roman"/>
                <a:cs typeface="Times New Roman"/>
                <a:sym typeface="Times New Roman"/>
              </a:rPr>
              <a:t>Lower C-section rate</a:t>
            </a:r>
            <a:endParaRPr sz="2200" b="0" dirty="0">
              <a:latin typeface="Times New Roman"/>
              <a:ea typeface="Times New Roman"/>
              <a:cs typeface="Times New Roman"/>
              <a:sym typeface="Times New Roman"/>
            </a:endParaRPr>
          </a:p>
          <a:p>
            <a:pPr marL="342900">
              <a:spcBef>
                <a:spcPts val="640"/>
              </a:spcBef>
              <a:buSzPts val="2200"/>
              <a:buFont typeface="Times New Roman"/>
              <a:buChar char="●"/>
            </a:pPr>
            <a:r>
              <a:rPr lang="en-US" sz="2200" b="0" dirty="0">
                <a:latin typeface="Times New Roman"/>
                <a:ea typeface="Times New Roman"/>
                <a:cs typeface="Times New Roman"/>
                <a:sym typeface="Times New Roman"/>
              </a:rPr>
              <a:t>Higher vaginal birth after cesarean (VBAC) rate</a:t>
            </a:r>
            <a:endParaRPr sz="2200" b="0" dirty="0">
              <a:latin typeface="Times New Roman"/>
              <a:ea typeface="Times New Roman"/>
              <a:cs typeface="Times New Roman"/>
              <a:sym typeface="Times New Roman"/>
            </a:endParaRPr>
          </a:p>
          <a:p>
            <a:pPr marL="342900">
              <a:spcBef>
                <a:spcPts val="640"/>
              </a:spcBef>
              <a:buSzPts val="2200"/>
              <a:buFont typeface="Times New Roman"/>
              <a:buChar char="●"/>
            </a:pPr>
            <a:r>
              <a:rPr lang="en-US" sz="2200" b="0" dirty="0">
                <a:latin typeface="Times New Roman"/>
                <a:ea typeface="Times New Roman"/>
                <a:cs typeface="Times New Roman"/>
                <a:sym typeface="Times New Roman"/>
              </a:rPr>
              <a:t>Fewer low birth weight newborns</a:t>
            </a:r>
            <a:endParaRPr sz="2200" b="0" dirty="0">
              <a:latin typeface="Times New Roman"/>
              <a:ea typeface="Times New Roman"/>
              <a:cs typeface="Times New Roman"/>
              <a:sym typeface="Times New Roman"/>
            </a:endParaRPr>
          </a:p>
          <a:p>
            <a:pPr marL="342900">
              <a:spcBef>
                <a:spcPts val="640"/>
              </a:spcBef>
              <a:buSzPts val="2200"/>
              <a:buFont typeface="Times New Roman"/>
              <a:buChar char="●"/>
            </a:pPr>
            <a:r>
              <a:rPr lang="en-US" sz="2200" b="0" dirty="0">
                <a:latin typeface="Times New Roman"/>
                <a:ea typeface="Times New Roman"/>
                <a:cs typeface="Times New Roman"/>
                <a:sym typeface="Times New Roman"/>
              </a:rPr>
              <a:t>Lower preterm birth rate</a:t>
            </a:r>
            <a:endParaRPr sz="2200" b="0" dirty="0">
              <a:latin typeface="Times New Roman"/>
              <a:ea typeface="Times New Roman"/>
              <a:cs typeface="Times New Roman"/>
              <a:sym typeface="Times New Roman"/>
            </a:endParaRPr>
          </a:p>
          <a:p>
            <a:pPr marL="342900">
              <a:spcBef>
                <a:spcPts val="640"/>
              </a:spcBef>
              <a:buSzPts val="2200"/>
              <a:buFont typeface="Times New Roman"/>
              <a:buChar char="●"/>
            </a:pPr>
            <a:r>
              <a:rPr lang="en-US" sz="2200" b="0" dirty="0">
                <a:latin typeface="Times New Roman"/>
                <a:ea typeface="Times New Roman"/>
                <a:cs typeface="Times New Roman"/>
                <a:sym typeface="Times New Roman"/>
              </a:rPr>
              <a:t>Higher rate of exclusive breastfeeding</a:t>
            </a:r>
            <a:endParaRPr sz="2200" b="0" dirty="0">
              <a:latin typeface="Times New Roman"/>
              <a:ea typeface="Times New Roman"/>
              <a:cs typeface="Times New Roman"/>
              <a:sym typeface="Times New Roman"/>
            </a:endParaRPr>
          </a:p>
          <a:p>
            <a:pPr marL="342900">
              <a:spcBef>
                <a:spcPts val="640"/>
              </a:spcBef>
              <a:buSzPts val="2200"/>
              <a:buFont typeface="Times New Roman"/>
              <a:buChar char="●"/>
            </a:pPr>
            <a:r>
              <a:rPr lang="en-US" sz="2200" b="0" dirty="0">
                <a:latin typeface="Times New Roman"/>
                <a:ea typeface="Times New Roman"/>
                <a:cs typeface="Times New Roman"/>
                <a:sym typeface="Times New Roman"/>
              </a:rPr>
              <a:t>Reduction in racial/ethnic disparities for maternal and infant outcomes</a:t>
            </a:r>
            <a:endParaRPr sz="2200" b="0" dirty="0">
              <a:latin typeface="Times New Roman"/>
              <a:ea typeface="Times New Roman"/>
              <a:cs typeface="Times New Roman"/>
              <a:sym typeface="Times New Roman"/>
            </a:endParaRPr>
          </a:p>
        </p:txBody>
      </p:sp>
      <p:sp>
        <p:nvSpPr>
          <p:cNvPr id="158" name="Google Shape;158;g2c3ae3632cd_0_13"/>
          <p:cNvSpPr txBox="1"/>
          <p:nvPr/>
        </p:nvSpPr>
        <p:spPr>
          <a:xfrm>
            <a:off x="1524000" y="5334000"/>
            <a:ext cx="3200400" cy="304800"/>
          </a:xfrm>
          <a:prstGeom prst="rect">
            <a:avLst/>
          </a:prstGeom>
          <a:gradFill>
            <a:gsLst>
              <a:gs pos="0">
                <a:schemeClr val="hlink"/>
              </a:gs>
              <a:gs pos="100000">
                <a:srgbClr val="761800"/>
              </a:gs>
            </a:gsLst>
            <a:lin ang="0" scaled="0"/>
          </a:gradFill>
          <a:ln>
            <a:noFill/>
          </a:ln>
        </p:spPr>
        <p:txBody>
          <a:bodyPr spcFirstLastPara="1" wrap="square" lIns="46025" tIns="46025" rIns="46025" bIns="46025" anchor="ctr" anchorCtr="0">
            <a:noAutofit/>
          </a:bodyPr>
          <a:lstStyle/>
          <a:p>
            <a:pPr algn="r">
              <a:buClr>
                <a:srgbClr val="FFFFFF"/>
              </a:buClr>
              <a:buSzPts val="1600"/>
            </a:pPr>
            <a:r>
              <a:rPr lang="en-US" sz="1600" b="1" kern="0">
                <a:solidFill>
                  <a:srgbClr val="FFFFFF"/>
                </a:solidFill>
                <a:latin typeface="Arial"/>
                <a:ea typeface="Arial"/>
                <a:cs typeface="Arial"/>
                <a:sym typeface="Arial"/>
              </a:rPr>
              <a:t>FOR MORE INFO...</a:t>
            </a:r>
            <a:endParaRPr sz="1400" kern="0">
              <a:solidFill>
                <a:srgbClr val="000000"/>
              </a:solidFill>
              <a:latin typeface="Arial"/>
              <a:cs typeface="Arial"/>
              <a:sym typeface="Arial"/>
            </a:endParaRPr>
          </a:p>
        </p:txBody>
      </p:sp>
      <p:sp>
        <p:nvSpPr>
          <p:cNvPr id="159" name="Google Shape;159;g2c3ae3632cd_0_13"/>
          <p:cNvSpPr txBox="1"/>
          <p:nvPr/>
        </p:nvSpPr>
        <p:spPr>
          <a:xfrm>
            <a:off x="2209800" y="5638800"/>
            <a:ext cx="7772400" cy="914400"/>
          </a:xfrm>
          <a:prstGeom prst="rect">
            <a:avLst/>
          </a:prstGeom>
          <a:noFill/>
          <a:ln>
            <a:noFill/>
          </a:ln>
        </p:spPr>
        <p:txBody>
          <a:bodyPr spcFirstLastPara="1" wrap="square" lIns="92075" tIns="46025" rIns="92075" bIns="46025" anchor="t" anchorCtr="0">
            <a:noAutofit/>
          </a:bodyPr>
          <a:lstStyle/>
          <a:p>
            <a:pPr algn="ctr">
              <a:spcBef>
                <a:spcPts val="400"/>
              </a:spcBef>
              <a:buClr>
                <a:srgbClr val="FFFFFF"/>
              </a:buClr>
              <a:buSzPts val="2000"/>
            </a:pPr>
            <a:r>
              <a:rPr lang="en-US" sz="2000" b="1" kern="0">
                <a:solidFill>
                  <a:srgbClr val="FFFFFF"/>
                </a:solidFill>
                <a:latin typeface="Times New Roman"/>
                <a:ea typeface="Times New Roman"/>
                <a:cs typeface="Times New Roman"/>
                <a:sym typeface="Times New Roman"/>
              </a:rPr>
              <a:t>Strong Start for Mothers and Newborns Initiative National Report</a:t>
            </a:r>
            <a:endParaRPr sz="2000" b="1" kern="0">
              <a:solidFill>
                <a:srgbClr val="FFFFFF"/>
              </a:solidFill>
              <a:latin typeface="Times New Roman"/>
              <a:ea typeface="Times New Roman"/>
              <a:cs typeface="Times New Roman"/>
              <a:sym typeface="Times New Roman"/>
            </a:endParaRPr>
          </a:p>
          <a:p>
            <a:pPr algn="ctr">
              <a:spcBef>
                <a:spcPts val="400"/>
              </a:spcBef>
              <a:buClr>
                <a:srgbClr val="FFFFFF"/>
              </a:buClr>
              <a:buSzPts val="2000"/>
            </a:pPr>
            <a:r>
              <a:rPr lang="en-US" sz="2000" b="1" kern="0">
                <a:solidFill>
                  <a:srgbClr val="FFFFFF"/>
                </a:solidFill>
                <a:latin typeface="Times New Roman"/>
                <a:ea typeface="Times New Roman"/>
                <a:cs typeface="Times New Roman"/>
                <a:sym typeface="Times New Roman"/>
              </a:rPr>
              <a:t>Jan 8, 2019  Diane W Shannon MD, MPH</a:t>
            </a:r>
            <a:endParaRPr sz="2000" b="1" kern="0">
              <a:solidFill>
                <a:srgbClr val="FFFFFF"/>
              </a:solidFill>
              <a:latin typeface="Times New Roman"/>
              <a:ea typeface="Times New Roman"/>
              <a:cs typeface="Times New Roman"/>
              <a:sym typeface="Times New Roman"/>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p2"/>
          <p:cNvSpPr txBox="1">
            <a:spLocks noGrp="1"/>
          </p:cNvSpPr>
          <p:nvPr>
            <p:ph type="title"/>
          </p:nvPr>
        </p:nvSpPr>
        <p:spPr>
          <a:xfrm>
            <a:off x="2095500" y="975100"/>
            <a:ext cx="8001000" cy="31242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BIRTH CENTERS</a:t>
            </a:r>
            <a:br>
              <a:rPr lang="en-US"/>
            </a:br>
            <a:br>
              <a:rPr lang="en-US"/>
            </a:br>
            <a:r>
              <a:rPr lang="en-US"/>
              <a:t>         </a:t>
            </a:r>
            <a:r>
              <a:rPr lang="en-US" sz="4500">
                <a:solidFill>
                  <a:schemeClr val="lt1"/>
                </a:solidFill>
              </a:rPr>
              <a:t>The </a:t>
            </a:r>
            <a:br>
              <a:rPr lang="en-US" sz="4500">
                <a:solidFill>
                  <a:schemeClr val="lt1"/>
                </a:solidFill>
              </a:rPr>
            </a:br>
            <a:r>
              <a:rPr lang="en-US" sz="4500">
                <a:solidFill>
                  <a:schemeClr val="lt1"/>
                </a:solidFill>
              </a:rPr>
              <a:t>       Illinois </a:t>
            </a:r>
            <a:br>
              <a:rPr lang="en-US" sz="4500">
                <a:solidFill>
                  <a:schemeClr val="lt1"/>
                </a:solidFill>
              </a:rPr>
            </a:br>
            <a:r>
              <a:rPr lang="en-US" sz="4500">
                <a:solidFill>
                  <a:schemeClr val="lt1"/>
                </a:solidFill>
              </a:rPr>
              <a:t>     Experience</a:t>
            </a:r>
            <a:endParaRPr sz="4500">
              <a:solidFill>
                <a:schemeClr val="lt1"/>
              </a:solidFill>
            </a:endParaRPr>
          </a:p>
        </p:txBody>
      </p:sp>
      <p:sp>
        <p:nvSpPr>
          <p:cNvPr id="165" name="Google Shape;165;p2"/>
          <p:cNvSpPr txBox="1"/>
          <p:nvPr/>
        </p:nvSpPr>
        <p:spPr>
          <a:xfrm>
            <a:off x="1524000" y="5334000"/>
            <a:ext cx="3200400" cy="304800"/>
          </a:xfrm>
          <a:prstGeom prst="rect">
            <a:avLst/>
          </a:prstGeom>
          <a:gradFill>
            <a:gsLst>
              <a:gs pos="0">
                <a:schemeClr val="hlink"/>
              </a:gs>
              <a:gs pos="100000">
                <a:srgbClr val="761800"/>
              </a:gs>
            </a:gsLst>
            <a:lin ang="0" scaled="0"/>
          </a:gradFill>
          <a:ln>
            <a:noFill/>
          </a:ln>
        </p:spPr>
        <p:txBody>
          <a:bodyPr spcFirstLastPara="1" wrap="square" lIns="46025" tIns="46025" rIns="46025" bIns="46025" anchor="ctr" anchorCtr="0">
            <a:noAutofit/>
          </a:bodyPr>
          <a:lstStyle/>
          <a:p>
            <a:pPr algn="r">
              <a:buClr>
                <a:srgbClr val="FFFFFF"/>
              </a:buClr>
              <a:buSzPts val="1600"/>
            </a:pPr>
            <a:r>
              <a:rPr lang="en-US" sz="1600" b="1" kern="0">
                <a:solidFill>
                  <a:srgbClr val="FFFFFF"/>
                </a:solidFill>
                <a:latin typeface="Arial"/>
                <a:ea typeface="Arial"/>
                <a:cs typeface="Arial"/>
                <a:sym typeface="Arial"/>
              </a:rPr>
              <a:t>FOR MORE INFO...</a:t>
            </a:r>
            <a:endParaRPr sz="1400" kern="0">
              <a:solidFill>
                <a:srgbClr val="000000"/>
              </a:solidFill>
              <a:latin typeface="Arial"/>
              <a:cs typeface="Arial"/>
              <a:sym typeface="Arial"/>
            </a:endParaRPr>
          </a:p>
        </p:txBody>
      </p:sp>
      <p:sp>
        <p:nvSpPr>
          <p:cNvPr id="166" name="Google Shape;166;p2"/>
          <p:cNvSpPr txBox="1"/>
          <p:nvPr/>
        </p:nvSpPr>
        <p:spPr>
          <a:xfrm>
            <a:off x="2209800" y="5638800"/>
            <a:ext cx="7772400" cy="914400"/>
          </a:xfrm>
          <a:prstGeom prst="rect">
            <a:avLst/>
          </a:prstGeom>
          <a:noFill/>
          <a:ln>
            <a:noFill/>
          </a:ln>
        </p:spPr>
        <p:txBody>
          <a:bodyPr spcFirstLastPara="1" wrap="square" lIns="92075" tIns="46025" rIns="92075" bIns="46025" anchor="t" anchorCtr="0">
            <a:noAutofit/>
          </a:bodyPr>
          <a:lstStyle/>
          <a:p>
            <a:pPr algn="ctr">
              <a:buClr>
                <a:srgbClr val="FFFFFF"/>
              </a:buClr>
              <a:buSzPts val="2000"/>
            </a:pPr>
            <a:r>
              <a:rPr lang="en-US" sz="2000" b="1" kern="0">
                <a:solidFill>
                  <a:srgbClr val="FFFFFF"/>
                </a:solidFill>
                <a:latin typeface="Arial"/>
                <a:ea typeface="Arial"/>
                <a:cs typeface="Arial"/>
                <a:sym typeface="Arial"/>
              </a:rPr>
              <a:t>Health and Medicine Policy Research Group</a:t>
            </a:r>
            <a:endParaRPr sz="1400" kern="0">
              <a:solidFill>
                <a:srgbClr val="000000"/>
              </a:solidFill>
              <a:latin typeface="Arial"/>
              <a:cs typeface="Arial"/>
              <a:sym typeface="Arial"/>
            </a:endParaRPr>
          </a:p>
          <a:p>
            <a:pPr algn="ctr">
              <a:spcBef>
                <a:spcPts val="400"/>
              </a:spcBef>
              <a:buClr>
                <a:srgbClr val="FFFFFF"/>
              </a:buClr>
              <a:buSzPts val="2000"/>
            </a:pPr>
            <a:r>
              <a:rPr lang="en-US" sz="2000" b="1" kern="0">
                <a:solidFill>
                  <a:srgbClr val="FFFFFF"/>
                </a:solidFill>
                <a:latin typeface="Arial"/>
                <a:ea typeface="Arial"/>
                <a:cs typeface="Arial"/>
                <a:sym typeface="Arial"/>
              </a:rPr>
              <a:t>www.hmprg.org</a:t>
            </a:r>
            <a:endParaRPr sz="1400" kern="0">
              <a:solidFill>
                <a:srgbClr val="000000"/>
              </a:solidFill>
              <a:latin typeface="Arial"/>
              <a:cs typeface="Arial"/>
              <a:sym typeface="Arial"/>
            </a:endParaRPr>
          </a:p>
        </p:txBody>
      </p:sp>
      <p:pic>
        <p:nvPicPr>
          <p:cNvPr id="167" name="Google Shape;167;p2"/>
          <p:cNvPicPr preferRelativeResize="0"/>
          <p:nvPr/>
        </p:nvPicPr>
        <p:blipFill rotWithShape="1">
          <a:blip r:embed="rId3">
            <a:alphaModFix/>
          </a:blip>
          <a:srcRect/>
          <a:stretch/>
        </p:blipFill>
        <p:spPr>
          <a:xfrm>
            <a:off x="6662450" y="2009751"/>
            <a:ext cx="2710150" cy="3225825"/>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172" name="Google Shape;172;g26bd6778df0_0_20"/>
          <p:cNvSpPr txBox="1">
            <a:spLocks noGrp="1"/>
          </p:cNvSpPr>
          <p:nvPr>
            <p:ph type="title"/>
          </p:nvPr>
        </p:nvSpPr>
        <p:spPr>
          <a:xfrm>
            <a:off x="1848556" y="609600"/>
            <a:ext cx="8396111"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3400" dirty="0">
                <a:solidFill>
                  <a:schemeClr val="lt1"/>
                </a:solidFill>
                <a:latin typeface="Oswald"/>
                <a:ea typeface="Oswald"/>
                <a:cs typeface="Oswald"/>
                <a:sym typeface="Oswald"/>
              </a:rPr>
              <a:t>ILLINOIS BIRTH CENTER TASK FORCE</a:t>
            </a:r>
            <a:endParaRPr sz="3400" dirty="0"/>
          </a:p>
        </p:txBody>
      </p:sp>
      <p:sp>
        <p:nvSpPr>
          <p:cNvPr id="173" name="Google Shape;173;g26bd6778df0_0_20"/>
          <p:cNvSpPr txBox="1">
            <a:spLocks noGrp="1"/>
          </p:cNvSpPr>
          <p:nvPr>
            <p:ph type="body" idx="1"/>
          </p:nvPr>
        </p:nvSpPr>
        <p:spPr>
          <a:xfrm>
            <a:off x="2286000" y="2125175"/>
            <a:ext cx="7772400" cy="3102600"/>
          </a:xfrm>
          <a:prstGeom prst="rect">
            <a:avLst/>
          </a:prstGeom>
          <a:noFill/>
          <a:ln>
            <a:noFill/>
          </a:ln>
        </p:spPr>
        <p:txBody>
          <a:bodyPr spcFirstLastPara="1" wrap="square" lIns="92075" tIns="46025" rIns="92075" bIns="46025" anchor="t" anchorCtr="0">
            <a:noAutofit/>
          </a:bodyPr>
          <a:lstStyle/>
          <a:p>
            <a:pPr marL="342900" indent="-332740">
              <a:spcBef>
                <a:spcPts val="0"/>
              </a:spcBef>
              <a:buSzPts val="2400"/>
            </a:pPr>
            <a:r>
              <a:rPr lang="en-US" sz="2200" b="0">
                <a:latin typeface="Times New Roman"/>
                <a:ea typeface="Times New Roman"/>
                <a:cs typeface="Times New Roman"/>
                <a:sym typeface="Times New Roman"/>
              </a:rPr>
              <a:t>Formed in 1987</a:t>
            </a:r>
            <a:endParaRPr sz="2200"/>
          </a:p>
          <a:p>
            <a:pPr marL="342900" indent="-332740">
              <a:spcBef>
                <a:spcPts val="0"/>
              </a:spcBef>
              <a:buSzPts val="2400"/>
            </a:pPr>
            <a:r>
              <a:rPr lang="en-US" sz="2200" b="0">
                <a:latin typeface="Times New Roman"/>
                <a:ea typeface="Times New Roman"/>
                <a:cs typeface="Times New Roman"/>
                <a:sym typeface="Times New Roman"/>
              </a:rPr>
              <a:t>Part of Health and Medicine Policy Research Group (HMPRG): an independent policy center that conducts research, educates, and collaborates with other groups to advocate policies and impact health systems to improve the health status of all people. </a:t>
            </a:r>
            <a:r>
              <a:rPr lang="en-US" sz="2200"/>
              <a:t> </a:t>
            </a:r>
            <a:endParaRPr sz="2200" b="0">
              <a:latin typeface="Times New Roman"/>
              <a:ea typeface="Times New Roman"/>
              <a:cs typeface="Times New Roman"/>
              <a:sym typeface="Times New Roman"/>
            </a:endParaRPr>
          </a:p>
          <a:p>
            <a:pPr marL="342900" indent="-391160">
              <a:spcBef>
                <a:spcPts val="560"/>
              </a:spcBef>
              <a:buSzPts val="2200"/>
              <a:buFont typeface="Times New Roman"/>
              <a:buChar char="●"/>
            </a:pPr>
            <a:r>
              <a:rPr lang="en-US" sz="2200" b="0">
                <a:latin typeface="Times New Roman"/>
                <a:ea typeface="Times New Roman"/>
                <a:cs typeface="Times New Roman"/>
                <a:sym typeface="Times New Roman"/>
              </a:rPr>
              <a:t>Identified the need for birth centers in Illinois to provide choices and improve access to maternity services and providers</a:t>
            </a:r>
            <a:endParaRPr sz="2200" b="0">
              <a:latin typeface="Times New Roman"/>
              <a:ea typeface="Times New Roman"/>
              <a:cs typeface="Times New Roman"/>
              <a:sym typeface="Times New Roman"/>
            </a:endParaRPr>
          </a:p>
          <a:p>
            <a:pPr marL="342900" indent="-391160">
              <a:spcBef>
                <a:spcPts val="560"/>
              </a:spcBef>
              <a:buSzPts val="2200"/>
              <a:buFont typeface="Times New Roman"/>
              <a:buChar char="●"/>
            </a:pPr>
            <a:r>
              <a:rPr lang="en-US" sz="2200" b="0">
                <a:latin typeface="Times New Roman"/>
                <a:ea typeface="Times New Roman"/>
                <a:cs typeface="Times New Roman"/>
                <a:sym typeface="Times New Roman"/>
              </a:rPr>
              <a:t>Partnered with I PROMOTE IL in 2020 </a:t>
            </a:r>
            <a:endParaRPr sz="2200" b="0">
              <a:latin typeface="Times New Roman"/>
              <a:ea typeface="Times New Roman"/>
              <a:cs typeface="Times New Roman"/>
              <a:sym typeface="Times New Roman"/>
            </a:endParaRPr>
          </a:p>
          <a:p>
            <a:pPr marL="342900" indent="0">
              <a:spcBef>
                <a:spcPts val="560"/>
              </a:spcBef>
              <a:buNone/>
            </a:pPr>
            <a:endParaRPr sz="2200" b="0">
              <a:latin typeface="Times New Roman"/>
              <a:ea typeface="Times New Roman"/>
              <a:cs typeface="Times New Roman"/>
              <a:sym typeface="Times New Roman"/>
            </a:endParaRPr>
          </a:p>
        </p:txBody>
      </p:sp>
      <p:sp>
        <p:nvSpPr>
          <p:cNvPr id="174" name="Google Shape;174;g26bd6778df0_0_20"/>
          <p:cNvSpPr txBox="1"/>
          <p:nvPr/>
        </p:nvSpPr>
        <p:spPr>
          <a:xfrm>
            <a:off x="1524000" y="5334000"/>
            <a:ext cx="3200400" cy="304800"/>
          </a:xfrm>
          <a:prstGeom prst="rect">
            <a:avLst/>
          </a:prstGeom>
          <a:gradFill>
            <a:gsLst>
              <a:gs pos="0">
                <a:schemeClr val="hlink"/>
              </a:gs>
              <a:gs pos="100000">
                <a:srgbClr val="761800"/>
              </a:gs>
            </a:gsLst>
            <a:lin ang="0" scaled="0"/>
          </a:gradFill>
          <a:ln>
            <a:noFill/>
          </a:ln>
        </p:spPr>
        <p:txBody>
          <a:bodyPr spcFirstLastPara="1" wrap="square" lIns="46025" tIns="46025" rIns="46025" bIns="46025" anchor="ctr" anchorCtr="0">
            <a:noAutofit/>
          </a:bodyPr>
          <a:lstStyle/>
          <a:p>
            <a:pPr algn="r">
              <a:buClr>
                <a:srgbClr val="FFFFFF"/>
              </a:buClr>
              <a:buSzPts val="1600"/>
            </a:pPr>
            <a:r>
              <a:rPr lang="en-US" sz="1600" b="1" kern="0">
                <a:solidFill>
                  <a:srgbClr val="FFFFFF"/>
                </a:solidFill>
                <a:latin typeface="Arial"/>
                <a:ea typeface="Arial"/>
                <a:cs typeface="Arial"/>
                <a:sym typeface="Arial"/>
              </a:rPr>
              <a:t>FOR MORE INFO...</a:t>
            </a:r>
            <a:endParaRPr sz="1400" kern="0">
              <a:solidFill>
                <a:srgbClr val="000000"/>
              </a:solidFill>
              <a:latin typeface="Arial"/>
              <a:cs typeface="Arial"/>
              <a:sym typeface="Arial"/>
            </a:endParaRPr>
          </a:p>
        </p:txBody>
      </p:sp>
      <p:sp>
        <p:nvSpPr>
          <p:cNvPr id="175" name="Google Shape;175;g26bd6778df0_0_20"/>
          <p:cNvSpPr txBox="1"/>
          <p:nvPr/>
        </p:nvSpPr>
        <p:spPr>
          <a:xfrm>
            <a:off x="2286000" y="5838725"/>
            <a:ext cx="7772400" cy="914400"/>
          </a:xfrm>
          <a:prstGeom prst="rect">
            <a:avLst/>
          </a:prstGeom>
          <a:noFill/>
          <a:ln>
            <a:noFill/>
          </a:ln>
        </p:spPr>
        <p:txBody>
          <a:bodyPr spcFirstLastPara="1" wrap="square" lIns="92075" tIns="46025" rIns="92075" bIns="46025" anchor="ctr" anchorCtr="0">
            <a:noAutofit/>
          </a:bodyPr>
          <a:lstStyle/>
          <a:p>
            <a:pPr algn="ctr">
              <a:buClr>
                <a:srgbClr val="FFFFFF"/>
              </a:buClr>
              <a:buSzPts val="2000"/>
            </a:pPr>
            <a:r>
              <a:rPr lang="en-US" sz="2000" b="1" kern="0">
                <a:solidFill>
                  <a:srgbClr val="FFFFFF"/>
                </a:solidFill>
                <a:latin typeface="Times New Roman"/>
                <a:ea typeface="Times New Roman"/>
                <a:cs typeface="Times New Roman"/>
                <a:sym typeface="Times New Roman"/>
              </a:rPr>
              <a:t>Health and Medicine Policy Research Group   hmprg.org</a:t>
            </a:r>
            <a:endParaRPr sz="2000" b="1" kern="0">
              <a:solidFill>
                <a:srgbClr val="FFFFFF"/>
              </a:solidFill>
              <a:latin typeface="Times New Roman"/>
              <a:ea typeface="Times New Roman"/>
              <a:cs typeface="Times New Roman"/>
              <a:sym typeface="Times New Roman"/>
            </a:endParaRPr>
          </a:p>
          <a:p>
            <a:pPr algn="ctr">
              <a:buClr>
                <a:srgbClr val="FFFFFF"/>
              </a:buClr>
              <a:buSzPts val="2000"/>
            </a:pPr>
            <a:r>
              <a:rPr lang="en-US" sz="2000" b="1" kern="0">
                <a:solidFill>
                  <a:srgbClr val="FFFFFF"/>
                </a:solidFill>
                <a:latin typeface="Times New Roman"/>
                <a:ea typeface="Times New Roman"/>
                <a:cs typeface="Times New Roman"/>
                <a:sym typeface="Times New Roman"/>
              </a:rPr>
              <a:t>I PROMOTE IL     ipromoteil.org</a:t>
            </a:r>
            <a:r>
              <a:rPr lang="en-US" sz="2000" b="1" kern="0">
                <a:solidFill>
                  <a:srgbClr val="000000"/>
                </a:solidFill>
                <a:latin typeface="Arial"/>
                <a:cs typeface="Arial"/>
                <a:sym typeface="Arial"/>
              </a:rPr>
              <a:t>   </a:t>
            </a:r>
            <a:endParaRPr sz="2000" b="1" kern="0">
              <a:solidFill>
                <a:srgbClr val="FFFFFF"/>
              </a:solidFill>
              <a:latin typeface="Times New Roman"/>
              <a:ea typeface="Times New Roman"/>
              <a:cs typeface="Times New Roman"/>
              <a:sym typeface="Times New Roman"/>
            </a:endParaRPr>
          </a:p>
          <a:p>
            <a:pPr algn="ctr">
              <a:buClr>
                <a:srgbClr val="FFFFFF"/>
              </a:buClr>
              <a:buSzPts val="2000"/>
            </a:pPr>
            <a:endParaRPr sz="2000" b="1" kern="0">
              <a:solidFill>
                <a:srgbClr val="FFFFFF"/>
              </a:solidFill>
              <a:latin typeface="Times New Roman"/>
              <a:ea typeface="Times New Roman"/>
              <a:cs typeface="Times New Roman"/>
              <a:sym typeface="Times New Roman"/>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Google Shape;180;p6"/>
          <p:cNvSpPr txBox="1">
            <a:spLocks noGrp="1"/>
          </p:cNvSpPr>
          <p:nvPr>
            <p:ph type="title"/>
          </p:nvPr>
        </p:nvSpPr>
        <p:spPr>
          <a:xfrm>
            <a:off x="2209800" y="1092425"/>
            <a:ext cx="7772400" cy="2832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4000" dirty="0">
                <a:solidFill>
                  <a:schemeClr val="lt1"/>
                </a:solidFill>
                <a:latin typeface="Oswald"/>
                <a:ea typeface="Oswald"/>
                <a:cs typeface="Oswald"/>
                <a:sym typeface="Oswald"/>
              </a:rPr>
              <a:t>BIRTH CENTERS IN ILLINOIS</a:t>
            </a:r>
            <a:r>
              <a:rPr lang="en-US" sz="4000" dirty="0"/>
              <a:t>                                               </a:t>
            </a:r>
            <a:r>
              <a:rPr lang="en-US" sz="4000" dirty="0">
                <a:solidFill>
                  <a:schemeClr val="lt1"/>
                </a:solidFill>
                <a:latin typeface="Oswald"/>
                <a:ea typeface="Oswald"/>
                <a:cs typeface="Oswald"/>
                <a:sym typeface="Oswald"/>
              </a:rPr>
              <a:t>                                                    Why Bother? </a:t>
            </a:r>
            <a:endParaRPr sz="4000" dirty="0">
              <a:solidFill>
                <a:schemeClr val="lt1"/>
              </a:solidFill>
              <a:latin typeface="Oswald"/>
              <a:ea typeface="Oswald"/>
              <a:cs typeface="Oswald"/>
              <a:sym typeface="Oswald"/>
            </a:endParaRPr>
          </a:p>
        </p:txBody>
      </p:sp>
      <p:sp>
        <p:nvSpPr>
          <p:cNvPr id="181" name="Google Shape;181;p6"/>
          <p:cNvSpPr txBox="1">
            <a:spLocks noGrp="1"/>
          </p:cNvSpPr>
          <p:nvPr>
            <p:ph type="body" idx="1"/>
          </p:nvPr>
        </p:nvSpPr>
        <p:spPr>
          <a:xfrm>
            <a:off x="2460125" y="2210650"/>
            <a:ext cx="4324200" cy="3767100"/>
          </a:xfrm>
          <a:prstGeom prst="rect">
            <a:avLst/>
          </a:prstGeom>
          <a:noFill/>
          <a:ln>
            <a:noFill/>
          </a:ln>
        </p:spPr>
        <p:txBody>
          <a:bodyPr spcFirstLastPara="1" wrap="square" lIns="92075" tIns="46025" rIns="92075" bIns="46025" anchor="t" anchorCtr="0">
            <a:noAutofit/>
          </a:bodyPr>
          <a:lstStyle/>
          <a:p>
            <a:pPr marL="342900" indent="-332740">
              <a:spcBef>
                <a:spcPts val="0"/>
              </a:spcBef>
              <a:buSzPts val="2400"/>
            </a:pPr>
            <a:r>
              <a:rPr lang="en-US" sz="2400" b="0" dirty="0">
                <a:latin typeface="Times New Roman"/>
                <a:ea typeface="Times New Roman"/>
                <a:cs typeface="Times New Roman"/>
                <a:sym typeface="Times New Roman"/>
              </a:rPr>
              <a:t>Access to Maternity Care</a:t>
            </a:r>
            <a:endParaRPr sz="2400" b="0" dirty="0">
              <a:latin typeface="Times New Roman"/>
              <a:ea typeface="Times New Roman"/>
              <a:cs typeface="Times New Roman"/>
              <a:sym typeface="Times New Roman"/>
            </a:endParaRPr>
          </a:p>
          <a:p>
            <a:pPr marL="342900" indent="-332740">
              <a:spcBef>
                <a:spcPts val="0"/>
              </a:spcBef>
              <a:buSzPts val="2400"/>
              <a:buFont typeface="Times New Roman"/>
              <a:buChar char="●"/>
            </a:pPr>
            <a:r>
              <a:rPr lang="en-US" sz="2400" b="0" dirty="0">
                <a:latin typeface="Times New Roman"/>
                <a:ea typeface="Times New Roman"/>
                <a:cs typeface="Times New Roman"/>
                <a:sym typeface="Times New Roman"/>
              </a:rPr>
              <a:t>Safety</a:t>
            </a:r>
            <a:endParaRPr sz="2400" b="0" dirty="0">
              <a:latin typeface="Times New Roman"/>
              <a:ea typeface="Times New Roman"/>
              <a:cs typeface="Times New Roman"/>
              <a:sym typeface="Times New Roman"/>
            </a:endParaRPr>
          </a:p>
          <a:p>
            <a:pPr marL="342900" indent="-332740">
              <a:spcBef>
                <a:spcPts val="0"/>
              </a:spcBef>
              <a:buSzPts val="2400"/>
            </a:pPr>
            <a:r>
              <a:rPr lang="en-US" sz="2400" b="0" dirty="0">
                <a:latin typeface="Times New Roman"/>
                <a:ea typeface="Times New Roman"/>
                <a:cs typeface="Times New Roman"/>
                <a:sym typeface="Times New Roman"/>
              </a:rPr>
              <a:t>Reduced Cost</a:t>
            </a:r>
            <a:endParaRPr sz="2400" dirty="0"/>
          </a:p>
          <a:p>
            <a:pPr marL="342900" indent="-332740">
              <a:spcBef>
                <a:spcPts val="640"/>
              </a:spcBef>
              <a:buSzPts val="2400"/>
            </a:pPr>
            <a:r>
              <a:rPr lang="en-US" sz="2400" b="0" dirty="0">
                <a:latin typeface="Times New Roman"/>
                <a:ea typeface="Times New Roman"/>
                <a:cs typeface="Times New Roman"/>
                <a:sym typeface="Times New Roman"/>
              </a:rPr>
              <a:t>Midwifery Model of Care</a:t>
            </a:r>
            <a:endParaRPr sz="2400" dirty="0"/>
          </a:p>
          <a:p>
            <a:pPr marL="1143000" lvl="2" indent="-203200">
              <a:spcBef>
                <a:spcPts val="560"/>
              </a:spcBef>
              <a:buSzPts val="2400"/>
              <a:buFont typeface="Times New Roman"/>
              <a:buChar char="•"/>
            </a:pPr>
            <a:r>
              <a:rPr lang="en-US" b="0" i="0" u="none" dirty="0">
                <a:solidFill>
                  <a:schemeClr val="lt1"/>
                </a:solidFill>
                <a:latin typeface="Times New Roman"/>
                <a:ea typeface="Times New Roman"/>
                <a:cs typeface="Times New Roman"/>
                <a:sym typeface="Times New Roman"/>
              </a:rPr>
              <a:t>Culturally sensitive</a:t>
            </a:r>
            <a:endParaRPr dirty="0"/>
          </a:p>
          <a:p>
            <a:pPr marL="1143000" lvl="2" indent="-203200">
              <a:spcBef>
                <a:spcPts val="560"/>
              </a:spcBef>
              <a:buSzPts val="2400"/>
              <a:buFont typeface="Times New Roman"/>
              <a:buChar char="•"/>
            </a:pPr>
            <a:r>
              <a:rPr lang="en-US" b="0" dirty="0">
                <a:latin typeface="Times New Roman"/>
                <a:ea typeface="Times New Roman"/>
                <a:cs typeface="Times New Roman"/>
                <a:sym typeface="Times New Roman"/>
              </a:rPr>
              <a:t>Family-Centered</a:t>
            </a:r>
            <a:endParaRPr b="0" dirty="0">
              <a:latin typeface="Times New Roman"/>
              <a:ea typeface="Times New Roman"/>
              <a:cs typeface="Times New Roman"/>
              <a:sym typeface="Times New Roman"/>
            </a:endParaRPr>
          </a:p>
          <a:p>
            <a:pPr marL="1143000" lvl="2" indent="-203200">
              <a:spcBef>
                <a:spcPts val="560"/>
              </a:spcBef>
              <a:buSzPts val="2400"/>
              <a:buFont typeface="Times New Roman"/>
              <a:buChar char="•"/>
            </a:pPr>
            <a:r>
              <a:rPr lang="en-US" b="0" i="0" u="none" dirty="0">
                <a:solidFill>
                  <a:schemeClr val="lt1"/>
                </a:solidFill>
                <a:latin typeface="Times New Roman"/>
                <a:ea typeface="Times New Roman"/>
                <a:cs typeface="Times New Roman"/>
                <a:sym typeface="Times New Roman"/>
              </a:rPr>
              <a:t>Home-like setting</a:t>
            </a:r>
            <a:endParaRPr b="0" i="0" u="none" dirty="0">
              <a:solidFill>
                <a:schemeClr val="lt1"/>
              </a:solidFill>
              <a:latin typeface="Times New Roman"/>
              <a:ea typeface="Times New Roman"/>
              <a:cs typeface="Times New Roman"/>
              <a:sym typeface="Times New Roman"/>
            </a:endParaRPr>
          </a:p>
          <a:p>
            <a:pPr marL="1143000" lvl="2" indent="-228600">
              <a:spcBef>
                <a:spcPts val="560"/>
              </a:spcBef>
              <a:buFont typeface="Times New Roman"/>
              <a:buChar char="•"/>
            </a:pPr>
            <a:r>
              <a:rPr lang="en-US" b="0" dirty="0">
                <a:latin typeface="Times New Roman"/>
                <a:ea typeface="Times New Roman"/>
                <a:cs typeface="Times New Roman"/>
                <a:sym typeface="Times New Roman"/>
              </a:rPr>
              <a:t>Physiologic birth</a:t>
            </a:r>
            <a:endParaRPr dirty="0"/>
          </a:p>
        </p:txBody>
      </p:sp>
      <p:pic>
        <p:nvPicPr>
          <p:cNvPr id="182" name="Google Shape;182;p6"/>
          <p:cNvPicPr preferRelativeResize="0"/>
          <p:nvPr/>
        </p:nvPicPr>
        <p:blipFill>
          <a:blip r:embed="rId3">
            <a:alphaModFix/>
          </a:blip>
          <a:stretch>
            <a:fillRect/>
          </a:stretch>
        </p:blipFill>
        <p:spPr>
          <a:xfrm>
            <a:off x="7224426" y="2119375"/>
            <a:ext cx="2636825" cy="3638200"/>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7"/>
          <p:cNvSpPr txBox="1">
            <a:spLocks noGrp="1"/>
          </p:cNvSpPr>
          <p:nvPr>
            <p:ph type="title"/>
          </p:nvPr>
        </p:nvSpPr>
        <p:spPr>
          <a:xfrm>
            <a:off x="2209800" y="609600"/>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THE ILLINOIS EXPERIENCE</a:t>
            </a:r>
            <a:endParaRPr/>
          </a:p>
        </p:txBody>
      </p:sp>
      <p:sp>
        <p:nvSpPr>
          <p:cNvPr id="188" name="Google Shape;188;p7"/>
          <p:cNvSpPr txBox="1">
            <a:spLocks noGrp="1"/>
          </p:cNvSpPr>
          <p:nvPr>
            <p:ph type="body" idx="1"/>
          </p:nvPr>
        </p:nvSpPr>
        <p:spPr>
          <a:xfrm>
            <a:off x="2209800" y="1981200"/>
            <a:ext cx="7772400" cy="4343400"/>
          </a:xfrm>
          <a:prstGeom prst="rect">
            <a:avLst/>
          </a:prstGeom>
          <a:noFill/>
          <a:ln>
            <a:noFill/>
          </a:ln>
        </p:spPr>
        <p:txBody>
          <a:bodyPr spcFirstLastPara="1" wrap="square" lIns="92075" tIns="46025" rIns="92075" bIns="46025" anchor="t" anchorCtr="0">
            <a:noAutofit/>
          </a:bodyPr>
          <a:lstStyle/>
          <a:p>
            <a:pPr marL="0" indent="0" algn="ctr">
              <a:lnSpc>
                <a:spcPct val="80000"/>
              </a:lnSpc>
              <a:spcBef>
                <a:spcPts val="720"/>
              </a:spcBef>
              <a:buSzPts val="2880"/>
              <a:buNone/>
            </a:pPr>
            <a:endParaRPr lang="en-US" sz="3000" i="1" dirty="0">
              <a:solidFill>
                <a:srgbClr val="FFFF66"/>
              </a:solidFill>
              <a:latin typeface="Times New Roman"/>
              <a:ea typeface="Times New Roman"/>
              <a:cs typeface="Times New Roman"/>
              <a:sym typeface="Times New Roman"/>
            </a:endParaRPr>
          </a:p>
          <a:p>
            <a:pPr marL="0" indent="0" algn="ctr">
              <a:lnSpc>
                <a:spcPct val="80000"/>
              </a:lnSpc>
              <a:spcBef>
                <a:spcPts val="720"/>
              </a:spcBef>
              <a:buSzPts val="2880"/>
              <a:buNone/>
            </a:pPr>
            <a:r>
              <a:rPr lang="en-US" sz="3000" i="1" dirty="0">
                <a:solidFill>
                  <a:srgbClr val="FFFF66"/>
                </a:solidFill>
                <a:latin typeface="Times New Roman"/>
                <a:ea typeface="Times New Roman"/>
                <a:cs typeface="Times New Roman"/>
                <a:sym typeface="Times New Roman"/>
              </a:rPr>
              <a:t>Coming together is a beginning, </a:t>
            </a:r>
            <a:endParaRPr sz="3000" i="1" dirty="0">
              <a:solidFill>
                <a:srgbClr val="FFFF66"/>
              </a:solidFill>
              <a:latin typeface="Times New Roman"/>
              <a:ea typeface="Times New Roman"/>
              <a:cs typeface="Times New Roman"/>
              <a:sym typeface="Times New Roman"/>
            </a:endParaRPr>
          </a:p>
          <a:p>
            <a:pPr marL="0" indent="0" algn="ctr">
              <a:lnSpc>
                <a:spcPct val="80000"/>
              </a:lnSpc>
              <a:spcBef>
                <a:spcPts val="720"/>
              </a:spcBef>
              <a:buSzPts val="2880"/>
              <a:buNone/>
            </a:pPr>
            <a:r>
              <a:rPr lang="en-US" sz="3000" i="1" dirty="0">
                <a:solidFill>
                  <a:srgbClr val="FFFF66"/>
                </a:solidFill>
                <a:latin typeface="Times New Roman"/>
                <a:ea typeface="Times New Roman"/>
                <a:cs typeface="Times New Roman"/>
                <a:sym typeface="Times New Roman"/>
              </a:rPr>
              <a:t>Keeping together is progress,</a:t>
            </a:r>
            <a:endParaRPr sz="3000" i="1" dirty="0">
              <a:solidFill>
                <a:srgbClr val="FFFF66"/>
              </a:solidFill>
              <a:latin typeface="Times New Roman"/>
              <a:ea typeface="Times New Roman"/>
              <a:cs typeface="Times New Roman"/>
              <a:sym typeface="Times New Roman"/>
            </a:endParaRPr>
          </a:p>
          <a:p>
            <a:pPr marL="342900" indent="-342900" algn="ctr">
              <a:lnSpc>
                <a:spcPct val="80000"/>
              </a:lnSpc>
              <a:spcBef>
                <a:spcPts val="720"/>
              </a:spcBef>
              <a:buSzPts val="2880"/>
              <a:buNone/>
            </a:pPr>
            <a:r>
              <a:rPr lang="en-US" sz="3000" i="1" dirty="0">
                <a:solidFill>
                  <a:srgbClr val="FFFF66"/>
                </a:solidFill>
                <a:latin typeface="Times New Roman"/>
                <a:ea typeface="Times New Roman"/>
                <a:cs typeface="Times New Roman"/>
                <a:sym typeface="Times New Roman"/>
              </a:rPr>
              <a:t>Working together is success.</a:t>
            </a:r>
            <a:endParaRPr sz="2600" dirty="0"/>
          </a:p>
          <a:p>
            <a:pPr marL="342900" indent="-342900" algn="ctr">
              <a:lnSpc>
                <a:spcPct val="80000"/>
              </a:lnSpc>
              <a:spcBef>
                <a:spcPts val="400"/>
              </a:spcBef>
              <a:buSzPts val="1600"/>
              <a:buNone/>
            </a:pPr>
            <a:r>
              <a:rPr lang="en-US" sz="2000" b="0" i="1" dirty="0">
                <a:latin typeface="Times New Roman"/>
                <a:ea typeface="Times New Roman"/>
                <a:cs typeface="Times New Roman"/>
                <a:sym typeface="Times New Roman"/>
              </a:rPr>
              <a:t>                                                             -Henry Ford</a:t>
            </a:r>
            <a:endParaRPr dirty="0"/>
          </a:p>
          <a:p>
            <a:pPr marL="342900" indent="-342900">
              <a:lnSpc>
                <a:spcPct val="80000"/>
              </a:lnSpc>
              <a:spcBef>
                <a:spcPts val="400"/>
              </a:spcBef>
              <a:buSzPts val="1600"/>
              <a:buNone/>
            </a:pPr>
            <a:endParaRPr sz="2400" b="0" i="1" dirty="0">
              <a:latin typeface="Times New Roman"/>
              <a:ea typeface="Times New Roman"/>
              <a:cs typeface="Times New Roman"/>
              <a:sym typeface="Times New Roman"/>
            </a:endParaRPr>
          </a:p>
          <a:p>
            <a:pPr marL="0" indent="0">
              <a:lnSpc>
                <a:spcPct val="80000"/>
              </a:lnSpc>
              <a:spcBef>
                <a:spcPts val="560"/>
              </a:spcBef>
              <a:buSzPts val="2240"/>
              <a:buNone/>
            </a:pPr>
            <a:endParaRPr lang="en-US" sz="2400" dirty="0">
              <a:latin typeface="Times New Roman"/>
              <a:ea typeface="Times New Roman"/>
              <a:cs typeface="Times New Roman"/>
              <a:sym typeface="Times New Roman"/>
            </a:endParaRPr>
          </a:p>
          <a:p>
            <a:pPr marL="0" indent="0" algn="ctr">
              <a:lnSpc>
                <a:spcPct val="80000"/>
              </a:lnSpc>
              <a:spcBef>
                <a:spcPts val="560"/>
              </a:spcBef>
              <a:buSzPts val="2240"/>
              <a:buNone/>
            </a:pPr>
            <a:r>
              <a:rPr lang="en-US" sz="2400" dirty="0">
                <a:latin typeface="Times New Roman"/>
                <a:ea typeface="Times New Roman"/>
                <a:cs typeface="Times New Roman"/>
                <a:sym typeface="Times New Roman"/>
              </a:rPr>
              <a:t>The Illinois Birth Center Task Force introduced </a:t>
            </a:r>
            <a:endParaRPr sz="2400" dirty="0"/>
          </a:p>
          <a:p>
            <a:pPr marL="0" indent="0" algn="ctr">
              <a:lnSpc>
                <a:spcPct val="80000"/>
              </a:lnSpc>
              <a:spcBef>
                <a:spcPts val="560"/>
              </a:spcBef>
              <a:buSzPts val="2240"/>
              <a:buNone/>
            </a:pPr>
            <a:r>
              <a:rPr lang="en-US" sz="2400" dirty="0">
                <a:latin typeface="Times New Roman"/>
                <a:ea typeface="Times New Roman"/>
                <a:cs typeface="Times New Roman"/>
                <a:sym typeface="Times New Roman"/>
              </a:rPr>
              <a:t>9 legislative bills from 1989 to 2007.</a:t>
            </a:r>
            <a:endParaRPr sz="2400" dirty="0">
              <a:latin typeface="Times New Roman"/>
              <a:ea typeface="Times New Roman"/>
              <a:cs typeface="Times New Roman"/>
              <a:sym typeface="Times New Roman"/>
            </a:endParaRPr>
          </a:p>
          <a:p>
            <a:pPr marL="0" indent="0">
              <a:lnSpc>
                <a:spcPct val="80000"/>
              </a:lnSpc>
              <a:spcBef>
                <a:spcPts val="560"/>
              </a:spcBef>
              <a:buSzPts val="2240"/>
              <a:buNone/>
            </a:pPr>
            <a:endParaRPr sz="2400" dirty="0">
              <a:latin typeface="Times New Roman"/>
              <a:ea typeface="Times New Roman"/>
              <a:cs typeface="Times New Roman"/>
              <a:sym typeface="Times New Roman"/>
            </a:endParaRPr>
          </a:p>
          <a:p>
            <a:pPr marL="342900" indent="-342900">
              <a:lnSpc>
                <a:spcPct val="90000"/>
              </a:lnSpc>
              <a:spcBef>
                <a:spcPts val="560"/>
              </a:spcBef>
              <a:buSzPts val="2240"/>
              <a:buNone/>
            </a:pPr>
            <a:endParaRPr sz="2400" dirty="0">
              <a:latin typeface="Times New Roman"/>
              <a:ea typeface="Times New Roman"/>
              <a:cs typeface="Times New Roman"/>
              <a:sym typeface="Times New Roman"/>
            </a:endParaRPr>
          </a:p>
          <a:p>
            <a:pPr marL="342900" indent="-342900">
              <a:lnSpc>
                <a:spcPct val="90000"/>
              </a:lnSpc>
              <a:spcBef>
                <a:spcPts val="560"/>
              </a:spcBef>
              <a:buSzPts val="2240"/>
              <a:buNone/>
            </a:pPr>
            <a:endParaRPr sz="2400" dirty="0">
              <a:latin typeface="Times New Roman"/>
              <a:ea typeface="Times New Roman"/>
              <a:cs typeface="Times New Roman"/>
              <a:sym typeface="Times New Roman"/>
            </a:endParaRPr>
          </a:p>
          <a:p>
            <a:pPr marL="0" indent="0">
              <a:lnSpc>
                <a:spcPct val="80000"/>
              </a:lnSpc>
              <a:spcBef>
                <a:spcPts val="400"/>
              </a:spcBef>
              <a:buSzPts val="1600"/>
              <a:buNone/>
            </a:pPr>
            <a:endParaRPr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g2c3ae3632cd_0_26"/>
          <p:cNvSpPr txBox="1">
            <a:spLocks noGrp="1"/>
          </p:cNvSpPr>
          <p:nvPr>
            <p:ph type="title"/>
          </p:nvPr>
        </p:nvSpPr>
        <p:spPr>
          <a:xfrm>
            <a:off x="2209800" y="609600"/>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IllINOIS BIRTH CENTER TASK FORCE</a:t>
            </a:r>
            <a:endParaRPr/>
          </a:p>
        </p:txBody>
      </p:sp>
      <p:sp>
        <p:nvSpPr>
          <p:cNvPr id="194" name="Google Shape;194;g2c3ae3632cd_0_26"/>
          <p:cNvSpPr txBox="1">
            <a:spLocks noGrp="1"/>
          </p:cNvSpPr>
          <p:nvPr>
            <p:ph type="body" idx="1"/>
          </p:nvPr>
        </p:nvSpPr>
        <p:spPr>
          <a:xfrm>
            <a:off x="2286000" y="2094338"/>
            <a:ext cx="7772400" cy="3133500"/>
          </a:xfrm>
          <a:prstGeom prst="rect">
            <a:avLst/>
          </a:prstGeom>
          <a:noFill/>
          <a:ln>
            <a:noFill/>
          </a:ln>
        </p:spPr>
        <p:txBody>
          <a:bodyPr spcFirstLastPara="1" wrap="square" lIns="92075" tIns="46025" rIns="92075" bIns="46025" anchor="t" anchorCtr="0">
            <a:noAutofit/>
          </a:bodyPr>
          <a:lstStyle/>
          <a:p>
            <a:pPr marL="342900" indent="-391160">
              <a:spcBef>
                <a:spcPts val="560"/>
              </a:spcBef>
              <a:buSzPts val="2200"/>
              <a:buFont typeface="Times New Roman"/>
              <a:buChar char="●"/>
            </a:pPr>
            <a:r>
              <a:rPr lang="en-US" sz="2200" b="0">
                <a:latin typeface="Times New Roman"/>
                <a:ea typeface="Times New Roman"/>
                <a:cs typeface="Times New Roman"/>
                <a:sym typeface="Times New Roman"/>
              </a:rPr>
              <a:t>TIMELINE</a:t>
            </a:r>
            <a:endParaRPr sz="2200" b="0">
              <a:latin typeface="Times New Roman"/>
              <a:ea typeface="Times New Roman"/>
              <a:cs typeface="Times New Roman"/>
              <a:sym typeface="Times New Roman"/>
            </a:endParaRPr>
          </a:p>
          <a:p>
            <a:pPr marL="342900" indent="0">
              <a:spcBef>
                <a:spcPts val="560"/>
              </a:spcBef>
              <a:buNone/>
            </a:pPr>
            <a:endParaRPr sz="2200" b="0">
              <a:latin typeface="Times New Roman"/>
              <a:ea typeface="Times New Roman"/>
              <a:cs typeface="Times New Roman"/>
              <a:sym typeface="Times New Roman"/>
            </a:endParaRPr>
          </a:p>
        </p:txBody>
      </p:sp>
      <p:sp>
        <p:nvSpPr>
          <p:cNvPr id="195" name="Google Shape;195;g2c3ae3632cd_0_26"/>
          <p:cNvSpPr txBox="1"/>
          <p:nvPr/>
        </p:nvSpPr>
        <p:spPr>
          <a:xfrm>
            <a:off x="1524000" y="5334000"/>
            <a:ext cx="3200400" cy="304800"/>
          </a:xfrm>
          <a:prstGeom prst="rect">
            <a:avLst/>
          </a:prstGeom>
          <a:gradFill>
            <a:gsLst>
              <a:gs pos="0">
                <a:schemeClr val="hlink"/>
              </a:gs>
              <a:gs pos="100000">
                <a:srgbClr val="761800"/>
              </a:gs>
            </a:gsLst>
            <a:lin ang="0" scaled="0"/>
          </a:gradFill>
          <a:ln>
            <a:noFill/>
          </a:ln>
        </p:spPr>
        <p:txBody>
          <a:bodyPr spcFirstLastPara="1" wrap="square" lIns="46025" tIns="46025" rIns="46025" bIns="46025" anchor="ctr" anchorCtr="0">
            <a:noAutofit/>
          </a:bodyPr>
          <a:lstStyle/>
          <a:p>
            <a:pPr algn="r">
              <a:buClr>
                <a:srgbClr val="FFFFFF"/>
              </a:buClr>
              <a:buSzPts val="1600"/>
            </a:pPr>
            <a:r>
              <a:rPr lang="en-US" sz="1600" b="1" kern="0">
                <a:solidFill>
                  <a:srgbClr val="FFFFFF"/>
                </a:solidFill>
                <a:latin typeface="Arial"/>
                <a:ea typeface="Arial"/>
                <a:cs typeface="Arial"/>
                <a:sym typeface="Arial"/>
              </a:rPr>
              <a:t>FOR MORE INFO...</a:t>
            </a:r>
            <a:endParaRPr sz="1400" kern="0">
              <a:solidFill>
                <a:srgbClr val="000000"/>
              </a:solidFill>
              <a:latin typeface="Arial"/>
              <a:cs typeface="Arial"/>
              <a:sym typeface="Arial"/>
            </a:endParaRPr>
          </a:p>
        </p:txBody>
      </p:sp>
      <p:sp>
        <p:nvSpPr>
          <p:cNvPr id="196" name="Google Shape;196;g2c3ae3632cd_0_26"/>
          <p:cNvSpPr txBox="1"/>
          <p:nvPr/>
        </p:nvSpPr>
        <p:spPr>
          <a:xfrm>
            <a:off x="2209800" y="5745050"/>
            <a:ext cx="7772400" cy="914400"/>
          </a:xfrm>
          <a:prstGeom prst="rect">
            <a:avLst/>
          </a:prstGeom>
          <a:noFill/>
          <a:ln>
            <a:noFill/>
          </a:ln>
        </p:spPr>
        <p:txBody>
          <a:bodyPr spcFirstLastPara="1" wrap="square" lIns="92075" tIns="46025" rIns="92075" bIns="46025" anchor="t" anchorCtr="0">
            <a:noAutofit/>
          </a:bodyPr>
          <a:lstStyle/>
          <a:p>
            <a:pPr algn="ctr">
              <a:buClr>
                <a:srgbClr val="FFFFFF"/>
              </a:buClr>
              <a:buSzPts val="2000"/>
            </a:pPr>
            <a:r>
              <a:rPr lang="en-US" sz="1400" kern="0">
                <a:solidFill>
                  <a:srgbClr val="000000"/>
                </a:solidFill>
                <a:latin typeface="Arial"/>
                <a:cs typeface="Arial"/>
                <a:sym typeface="Arial"/>
              </a:rPr>
              <a:t> </a:t>
            </a:r>
            <a:endParaRPr sz="2000" b="1" kern="0">
              <a:solidFill>
                <a:srgbClr val="FFFFFF"/>
              </a:solidFill>
              <a:latin typeface="Times New Roman"/>
              <a:ea typeface="Times New Roman"/>
              <a:cs typeface="Times New Roman"/>
              <a:sym typeface="Times New Roman"/>
            </a:endParaRPr>
          </a:p>
          <a:p>
            <a:pPr marL="3200400" indent="457200">
              <a:buClr>
                <a:srgbClr val="FFFFFF"/>
              </a:buClr>
              <a:buSzPts val="2000"/>
            </a:pPr>
            <a:r>
              <a:rPr lang="en-US" sz="2000" b="1" kern="0">
                <a:solidFill>
                  <a:srgbClr val="FFFFFF"/>
                </a:solidFill>
                <a:latin typeface="Times New Roman"/>
                <a:ea typeface="Times New Roman"/>
                <a:cs typeface="Times New Roman"/>
                <a:sym typeface="Times New Roman"/>
              </a:rPr>
              <a:t>                             hmprg.org</a:t>
            </a:r>
            <a:endParaRPr sz="2000" b="1" kern="0">
              <a:solidFill>
                <a:srgbClr val="FFFFFF"/>
              </a:solidFill>
              <a:latin typeface="Times New Roman"/>
              <a:ea typeface="Times New Roman"/>
              <a:cs typeface="Times New Roman"/>
              <a:sym typeface="Times New Roman"/>
            </a:endParaRPr>
          </a:p>
          <a:p>
            <a:pPr algn="ctr">
              <a:buClr>
                <a:srgbClr val="FFFFFF"/>
              </a:buClr>
              <a:buSzPts val="2000"/>
            </a:pPr>
            <a:endParaRPr sz="2000" b="1" kern="0">
              <a:solidFill>
                <a:srgbClr val="FFFFFF"/>
              </a:solidFill>
              <a:latin typeface="Times New Roman"/>
              <a:ea typeface="Times New Roman"/>
              <a:cs typeface="Times New Roman"/>
              <a:sym typeface="Times New Roman"/>
            </a:endParaRPr>
          </a:p>
        </p:txBody>
      </p:sp>
      <p:pic>
        <p:nvPicPr>
          <p:cNvPr id="197" name="Google Shape;197;g2c3ae3632cd_0_26"/>
          <p:cNvPicPr preferRelativeResize="0"/>
          <p:nvPr/>
        </p:nvPicPr>
        <p:blipFill>
          <a:blip r:embed="rId3">
            <a:alphaModFix/>
          </a:blip>
          <a:stretch>
            <a:fillRect/>
          </a:stretch>
        </p:blipFill>
        <p:spPr>
          <a:xfrm>
            <a:off x="4884314" y="5600352"/>
            <a:ext cx="2575755" cy="876660"/>
          </a:xfrm>
          <a:prstGeom prst="rect">
            <a:avLst/>
          </a:prstGeom>
          <a:noFill/>
          <a:ln>
            <a:noFill/>
          </a:ln>
        </p:spPr>
      </p:pic>
      <p:pic>
        <p:nvPicPr>
          <p:cNvPr id="198" name="Google Shape;198;g2c3ae3632cd_0_26"/>
          <p:cNvPicPr preferRelativeResize="0"/>
          <p:nvPr/>
        </p:nvPicPr>
        <p:blipFill>
          <a:blip r:embed="rId4">
            <a:alphaModFix/>
          </a:blip>
          <a:stretch>
            <a:fillRect/>
          </a:stretch>
        </p:blipFill>
        <p:spPr>
          <a:xfrm>
            <a:off x="1824350" y="225276"/>
            <a:ext cx="8543276" cy="6407451"/>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02"/>
        <p:cNvGrpSpPr/>
        <p:nvPr/>
      </p:nvGrpSpPr>
      <p:grpSpPr>
        <a:xfrm>
          <a:off x="0" y="0"/>
          <a:ext cx="0" cy="0"/>
          <a:chOff x="0" y="0"/>
          <a:chExt cx="0" cy="0"/>
        </a:xfrm>
      </p:grpSpPr>
      <p:sp>
        <p:nvSpPr>
          <p:cNvPr id="203" name="Google Shape;203;g26c7498c8a8_0_1"/>
          <p:cNvSpPr txBox="1">
            <a:spLocks noGrp="1"/>
          </p:cNvSpPr>
          <p:nvPr>
            <p:ph type="title"/>
          </p:nvPr>
        </p:nvSpPr>
        <p:spPr>
          <a:xfrm>
            <a:off x="2209800" y="609600"/>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IllINOIS BIRTH CENTER TASK FORCE</a:t>
            </a:r>
            <a:endParaRPr/>
          </a:p>
        </p:txBody>
      </p:sp>
      <p:sp>
        <p:nvSpPr>
          <p:cNvPr id="204" name="Google Shape;204;g26c7498c8a8_0_1"/>
          <p:cNvSpPr txBox="1">
            <a:spLocks noGrp="1"/>
          </p:cNvSpPr>
          <p:nvPr>
            <p:ph type="body" idx="1"/>
          </p:nvPr>
        </p:nvSpPr>
        <p:spPr>
          <a:xfrm>
            <a:off x="2286000" y="2094338"/>
            <a:ext cx="7772400" cy="3133500"/>
          </a:xfrm>
          <a:prstGeom prst="rect">
            <a:avLst/>
          </a:prstGeom>
          <a:noFill/>
          <a:ln>
            <a:noFill/>
          </a:ln>
        </p:spPr>
        <p:txBody>
          <a:bodyPr spcFirstLastPara="1" wrap="square" lIns="92075" tIns="46025" rIns="92075" bIns="46025" anchor="t" anchorCtr="0">
            <a:noAutofit/>
          </a:bodyPr>
          <a:lstStyle/>
          <a:p>
            <a:pPr marL="342900" indent="-391160">
              <a:spcBef>
                <a:spcPts val="560"/>
              </a:spcBef>
              <a:buSzPts val="2200"/>
              <a:buFont typeface="Times New Roman"/>
              <a:buChar char="●"/>
            </a:pPr>
            <a:r>
              <a:rPr lang="en-US" sz="2200" b="0">
                <a:latin typeface="Times New Roman"/>
                <a:ea typeface="Times New Roman"/>
                <a:cs typeface="Times New Roman"/>
                <a:sym typeface="Times New Roman"/>
              </a:rPr>
              <a:t>TIMELINE</a:t>
            </a:r>
            <a:endParaRPr sz="2200" b="0">
              <a:latin typeface="Times New Roman"/>
              <a:ea typeface="Times New Roman"/>
              <a:cs typeface="Times New Roman"/>
              <a:sym typeface="Times New Roman"/>
            </a:endParaRPr>
          </a:p>
          <a:p>
            <a:pPr marL="342900" indent="0">
              <a:spcBef>
                <a:spcPts val="560"/>
              </a:spcBef>
              <a:buNone/>
            </a:pPr>
            <a:endParaRPr sz="2200" b="0">
              <a:latin typeface="Times New Roman"/>
              <a:ea typeface="Times New Roman"/>
              <a:cs typeface="Times New Roman"/>
              <a:sym typeface="Times New Roman"/>
            </a:endParaRPr>
          </a:p>
        </p:txBody>
      </p:sp>
      <p:sp>
        <p:nvSpPr>
          <p:cNvPr id="205" name="Google Shape;205;g26c7498c8a8_0_1"/>
          <p:cNvSpPr txBox="1"/>
          <p:nvPr/>
        </p:nvSpPr>
        <p:spPr>
          <a:xfrm>
            <a:off x="1524000" y="5334000"/>
            <a:ext cx="3200400" cy="304800"/>
          </a:xfrm>
          <a:prstGeom prst="rect">
            <a:avLst/>
          </a:prstGeom>
          <a:gradFill>
            <a:gsLst>
              <a:gs pos="0">
                <a:schemeClr val="hlink"/>
              </a:gs>
              <a:gs pos="100000">
                <a:srgbClr val="761800"/>
              </a:gs>
            </a:gsLst>
            <a:lin ang="0" scaled="0"/>
          </a:gradFill>
          <a:ln>
            <a:noFill/>
          </a:ln>
        </p:spPr>
        <p:txBody>
          <a:bodyPr spcFirstLastPara="1" wrap="square" lIns="46025" tIns="46025" rIns="46025" bIns="46025" anchor="ctr" anchorCtr="0">
            <a:noAutofit/>
          </a:bodyPr>
          <a:lstStyle/>
          <a:p>
            <a:pPr algn="r">
              <a:buClr>
                <a:srgbClr val="FFFFFF"/>
              </a:buClr>
              <a:buSzPts val="1600"/>
            </a:pPr>
            <a:r>
              <a:rPr lang="en-US" sz="1600" b="1" kern="0">
                <a:solidFill>
                  <a:srgbClr val="FFFFFF"/>
                </a:solidFill>
                <a:latin typeface="Arial"/>
                <a:ea typeface="Arial"/>
                <a:cs typeface="Arial"/>
                <a:sym typeface="Arial"/>
              </a:rPr>
              <a:t>FOR MORE INFO...</a:t>
            </a:r>
            <a:endParaRPr sz="1400" kern="0">
              <a:solidFill>
                <a:srgbClr val="000000"/>
              </a:solidFill>
              <a:latin typeface="Arial"/>
              <a:cs typeface="Arial"/>
              <a:sym typeface="Arial"/>
            </a:endParaRPr>
          </a:p>
        </p:txBody>
      </p:sp>
      <p:sp>
        <p:nvSpPr>
          <p:cNvPr id="206" name="Google Shape;206;g26c7498c8a8_0_1"/>
          <p:cNvSpPr txBox="1"/>
          <p:nvPr/>
        </p:nvSpPr>
        <p:spPr>
          <a:xfrm>
            <a:off x="2209800" y="5745050"/>
            <a:ext cx="7772400" cy="914400"/>
          </a:xfrm>
          <a:prstGeom prst="rect">
            <a:avLst/>
          </a:prstGeom>
          <a:noFill/>
          <a:ln>
            <a:noFill/>
          </a:ln>
        </p:spPr>
        <p:txBody>
          <a:bodyPr spcFirstLastPara="1" wrap="square" lIns="92075" tIns="46025" rIns="92075" bIns="46025" anchor="t" anchorCtr="0">
            <a:noAutofit/>
          </a:bodyPr>
          <a:lstStyle/>
          <a:p>
            <a:pPr algn="ctr">
              <a:buClr>
                <a:srgbClr val="FFFFFF"/>
              </a:buClr>
              <a:buSzPts val="2000"/>
            </a:pPr>
            <a:r>
              <a:rPr lang="en-US" sz="1400" kern="0">
                <a:solidFill>
                  <a:srgbClr val="000000"/>
                </a:solidFill>
                <a:latin typeface="Arial"/>
                <a:cs typeface="Arial"/>
                <a:sym typeface="Arial"/>
              </a:rPr>
              <a:t> </a:t>
            </a:r>
            <a:endParaRPr sz="2000" b="1" kern="0">
              <a:solidFill>
                <a:srgbClr val="FFFFFF"/>
              </a:solidFill>
              <a:latin typeface="Times New Roman"/>
              <a:ea typeface="Times New Roman"/>
              <a:cs typeface="Times New Roman"/>
              <a:sym typeface="Times New Roman"/>
            </a:endParaRPr>
          </a:p>
          <a:p>
            <a:pPr marL="3200400" indent="457200">
              <a:buClr>
                <a:srgbClr val="FFFFFF"/>
              </a:buClr>
              <a:buSzPts val="2000"/>
            </a:pPr>
            <a:r>
              <a:rPr lang="en-US" sz="2000" b="1" kern="0">
                <a:solidFill>
                  <a:srgbClr val="FFFFFF"/>
                </a:solidFill>
                <a:latin typeface="Times New Roman"/>
                <a:ea typeface="Times New Roman"/>
                <a:cs typeface="Times New Roman"/>
                <a:sym typeface="Times New Roman"/>
              </a:rPr>
              <a:t>                             hmprg.org</a:t>
            </a:r>
            <a:endParaRPr sz="2000" b="1" kern="0">
              <a:solidFill>
                <a:srgbClr val="FFFFFF"/>
              </a:solidFill>
              <a:latin typeface="Times New Roman"/>
              <a:ea typeface="Times New Roman"/>
              <a:cs typeface="Times New Roman"/>
              <a:sym typeface="Times New Roman"/>
            </a:endParaRPr>
          </a:p>
          <a:p>
            <a:pPr algn="ctr">
              <a:buClr>
                <a:srgbClr val="FFFFFF"/>
              </a:buClr>
              <a:buSzPts val="2000"/>
            </a:pPr>
            <a:endParaRPr sz="2000" b="1" kern="0">
              <a:solidFill>
                <a:srgbClr val="FFFFFF"/>
              </a:solidFill>
              <a:latin typeface="Times New Roman"/>
              <a:ea typeface="Times New Roman"/>
              <a:cs typeface="Times New Roman"/>
              <a:sym typeface="Times New Roman"/>
            </a:endParaRPr>
          </a:p>
        </p:txBody>
      </p:sp>
      <p:pic>
        <p:nvPicPr>
          <p:cNvPr id="207" name="Google Shape;207;g26c7498c8a8_0_1"/>
          <p:cNvPicPr preferRelativeResize="0"/>
          <p:nvPr/>
        </p:nvPicPr>
        <p:blipFill>
          <a:blip r:embed="rId3">
            <a:alphaModFix/>
          </a:blip>
          <a:stretch>
            <a:fillRect/>
          </a:stretch>
        </p:blipFill>
        <p:spPr>
          <a:xfrm>
            <a:off x="4884314" y="5600352"/>
            <a:ext cx="2575755" cy="876660"/>
          </a:xfrm>
          <a:prstGeom prst="rect">
            <a:avLst/>
          </a:prstGeom>
          <a:noFill/>
          <a:ln>
            <a:noFill/>
          </a:ln>
        </p:spPr>
      </p:pic>
      <p:pic>
        <p:nvPicPr>
          <p:cNvPr id="208" name="Google Shape;208;g26c7498c8a8_0_1"/>
          <p:cNvPicPr preferRelativeResize="0"/>
          <p:nvPr/>
        </p:nvPicPr>
        <p:blipFill rotWithShape="1">
          <a:blip r:embed="rId4">
            <a:alphaModFix/>
          </a:blip>
          <a:srcRect/>
          <a:stretch/>
        </p:blipFill>
        <p:spPr>
          <a:xfrm>
            <a:off x="1824350" y="225276"/>
            <a:ext cx="8543276" cy="6407451"/>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3" name="Google Shape;213;g24fa8fb52e1e89f3_0"/>
          <p:cNvSpPr txBox="1">
            <a:spLocks noGrp="1"/>
          </p:cNvSpPr>
          <p:nvPr>
            <p:ph type="title"/>
          </p:nvPr>
        </p:nvSpPr>
        <p:spPr>
          <a:xfrm>
            <a:off x="2209800" y="620475"/>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ILLINOIS’ FIRST BIRTH CENTER</a:t>
            </a:r>
            <a:endParaRPr/>
          </a:p>
        </p:txBody>
      </p:sp>
      <p:pic>
        <p:nvPicPr>
          <p:cNvPr id="214" name="Google Shape;214;g24fa8fb52e1e89f3_0"/>
          <p:cNvPicPr preferRelativeResize="0"/>
          <p:nvPr/>
        </p:nvPicPr>
        <p:blipFill>
          <a:blip r:embed="rId3">
            <a:alphaModFix/>
          </a:blip>
          <a:stretch>
            <a:fillRect/>
          </a:stretch>
        </p:blipFill>
        <p:spPr>
          <a:xfrm>
            <a:off x="1727475" y="1763475"/>
            <a:ext cx="2736148" cy="1815476"/>
          </a:xfrm>
          <a:prstGeom prst="rect">
            <a:avLst/>
          </a:prstGeom>
          <a:noFill/>
          <a:ln>
            <a:noFill/>
          </a:ln>
        </p:spPr>
      </p:pic>
      <p:pic>
        <p:nvPicPr>
          <p:cNvPr id="215" name="Google Shape;215;g24fa8fb52e1e89f3_0"/>
          <p:cNvPicPr preferRelativeResize="0"/>
          <p:nvPr/>
        </p:nvPicPr>
        <p:blipFill>
          <a:blip r:embed="rId4">
            <a:alphaModFix/>
          </a:blip>
          <a:stretch>
            <a:fillRect/>
          </a:stretch>
        </p:blipFill>
        <p:spPr>
          <a:xfrm>
            <a:off x="4627301" y="2023400"/>
            <a:ext cx="5640775" cy="4334750"/>
          </a:xfrm>
          <a:prstGeom prst="rect">
            <a:avLst/>
          </a:prstGeom>
          <a:noFill/>
          <a:ln>
            <a:noFill/>
          </a:ln>
        </p:spPr>
      </p:pic>
      <p:pic>
        <p:nvPicPr>
          <p:cNvPr id="216" name="Google Shape;216;g24fa8fb52e1e89f3_0"/>
          <p:cNvPicPr preferRelativeResize="0"/>
          <p:nvPr/>
        </p:nvPicPr>
        <p:blipFill>
          <a:blip r:embed="rId5">
            <a:alphaModFix/>
          </a:blip>
          <a:stretch>
            <a:fillRect/>
          </a:stretch>
        </p:blipFill>
        <p:spPr>
          <a:xfrm>
            <a:off x="2016675" y="3760251"/>
            <a:ext cx="2086574" cy="2809649"/>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Shape 220"/>
        <p:cNvGrpSpPr/>
        <p:nvPr/>
      </p:nvGrpSpPr>
      <p:grpSpPr>
        <a:xfrm>
          <a:off x="0" y="0"/>
          <a:ext cx="0" cy="0"/>
          <a:chOff x="0" y="0"/>
          <a:chExt cx="0" cy="0"/>
        </a:xfrm>
      </p:grpSpPr>
      <p:sp>
        <p:nvSpPr>
          <p:cNvPr id="221" name="Google Shape;221;g2c49504ef83_0_14"/>
          <p:cNvSpPr txBox="1">
            <a:spLocks noGrp="1"/>
          </p:cNvSpPr>
          <p:nvPr>
            <p:ph type="body" idx="1"/>
          </p:nvPr>
        </p:nvSpPr>
        <p:spPr>
          <a:xfrm>
            <a:off x="2286000" y="404600"/>
            <a:ext cx="7772400" cy="6109500"/>
          </a:xfrm>
          <a:prstGeom prst="rect">
            <a:avLst/>
          </a:prstGeom>
          <a:noFill/>
          <a:ln>
            <a:noFill/>
          </a:ln>
        </p:spPr>
        <p:txBody>
          <a:bodyPr spcFirstLastPara="1" wrap="square" lIns="92075" tIns="46025" rIns="92075" bIns="46025" anchor="t" anchorCtr="0">
            <a:noAutofit/>
          </a:bodyPr>
          <a:lstStyle/>
          <a:p>
            <a:pPr marL="342900" indent="0">
              <a:spcBef>
                <a:spcPts val="560"/>
              </a:spcBef>
              <a:buNone/>
            </a:pPr>
            <a:r>
              <a:rPr lang="en-US" sz="1600">
                <a:latin typeface="Times New Roman"/>
                <a:ea typeface="Times New Roman"/>
                <a:cs typeface="Times New Roman"/>
                <a:sym typeface="Times New Roman"/>
              </a:rPr>
              <a:t>TIMELINE</a:t>
            </a:r>
            <a:endParaRPr sz="160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1987 Illinois Birth Center Task Force (BCTF) formed</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1988 1st Birth Center Conference </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1989 Demonstration in front of State of IL Building</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Legislative Bills introduced 1989, 1991, 1992,1993,1994, 1995, 1997, 1999, 2007</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1992 Alternative Health Care Delivery Act Passed</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07 Amendment to Alternative Health Care Delivery Act, Safe Childbirth Act: Birth Centers  passed and signed into law as PA 095-0445</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08  Birth Center conference: Moving Forward: Delivering Birth Centers in Illinois in collaboration with AABC How to Build a Birth Center Workshop</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12 Rules Promulgated</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14  1st Illinois Birth Center Opens: PCC Birth Center</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16 Bloomington Normal Birth Center Opens</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20 COVID Southside Midwives seek to open Birth Center- BCTF reingited</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21 Legislation introduced and passed, An Amendment to Alternative Health Care Delivery HB738 Act AND Birth Center Licensing Act HB 3995 PA 102-0518</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21 Burr Ridge Birth Center Opens</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21 Birth Center of Chicago Opens</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22 Rules Promulgated PA 102-0518</a:t>
            </a:r>
            <a:endParaRPr sz="1600" b="0">
              <a:latin typeface="Times New Roman"/>
              <a:ea typeface="Times New Roman"/>
              <a:cs typeface="Times New Roman"/>
              <a:sym typeface="Times New Roman"/>
            </a:endParaRPr>
          </a:p>
          <a:p>
            <a:pPr marL="342900" indent="0">
              <a:spcBef>
                <a:spcPts val="560"/>
              </a:spcBef>
              <a:buNone/>
            </a:pPr>
            <a:r>
              <a:rPr lang="en-US" sz="1600" b="0">
                <a:latin typeface="Times New Roman"/>
                <a:ea typeface="Times New Roman"/>
                <a:cs typeface="Times New Roman"/>
                <a:sym typeface="Times New Roman"/>
              </a:rPr>
              <a:t>2023 NorthPoint Birth Center Opens</a:t>
            </a:r>
            <a:endParaRPr sz="1600" b="0">
              <a:latin typeface="Times New Roman"/>
              <a:ea typeface="Times New Roman"/>
              <a:cs typeface="Times New Roman"/>
              <a:sym typeface="Times New Roman"/>
            </a:endParaRPr>
          </a:p>
          <a:p>
            <a:pPr marL="342900" indent="0">
              <a:spcBef>
                <a:spcPts val="560"/>
              </a:spcBef>
              <a:buNone/>
            </a:pPr>
            <a:endParaRPr sz="1600" b="0">
              <a:latin typeface="Times New Roman"/>
              <a:ea typeface="Times New Roman"/>
              <a:cs typeface="Times New Roman"/>
              <a:sym typeface="Times New Roman"/>
            </a:endParaRPr>
          </a:p>
          <a:p>
            <a:pPr marL="342900" indent="0">
              <a:spcBef>
                <a:spcPts val="560"/>
              </a:spcBef>
              <a:buNone/>
            </a:pPr>
            <a:endParaRPr sz="1600" b="0">
              <a:latin typeface="Times New Roman"/>
              <a:ea typeface="Times New Roman"/>
              <a:cs typeface="Times New Roman"/>
              <a:sym typeface="Times New Roman"/>
            </a:endParaRPr>
          </a:p>
          <a:p>
            <a:pPr marL="342900" indent="0">
              <a:spcBef>
                <a:spcPts val="560"/>
              </a:spcBef>
              <a:buNone/>
            </a:pPr>
            <a:endParaRPr sz="1600" b="0">
              <a:latin typeface="Times New Roman"/>
              <a:ea typeface="Times New Roman"/>
              <a:cs typeface="Times New Roman"/>
              <a:sym typeface="Times New Roman"/>
            </a:endParaRP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g2c3ae3632cd_0_34"/>
          <p:cNvSpPr txBox="1">
            <a:spLocks noGrp="1"/>
          </p:cNvSpPr>
          <p:nvPr>
            <p:ph type="title"/>
          </p:nvPr>
        </p:nvSpPr>
        <p:spPr>
          <a:xfrm>
            <a:off x="2173111" y="623711"/>
            <a:ext cx="8015111"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3200" dirty="0">
                <a:solidFill>
                  <a:schemeClr val="lt1"/>
                </a:solidFill>
                <a:latin typeface="Oswald"/>
                <a:ea typeface="Oswald"/>
                <a:cs typeface="Oswald"/>
                <a:sym typeface="Oswald"/>
              </a:rPr>
              <a:t>THE ILLINOIS EXPERIENCE:  BARRIERS</a:t>
            </a:r>
            <a:endParaRPr sz="3200" dirty="0"/>
          </a:p>
        </p:txBody>
      </p:sp>
      <p:sp>
        <p:nvSpPr>
          <p:cNvPr id="227" name="Google Shape;227;g2c3ae3632cd_0_34"/>
          <p:cNvSpPr txBox="1">
            <a:spLocks noGrp="1"/>
          </p:cNvSpPr>
          <p:nvPr>
            <p:ph type="body" idx="1"/>
          </p:nvPr>
        </p:nvSpPr>
        <p:spPr>
          <a:xfrm>
            <a:off x="2209800" y="1752600"/>
            <a:ext cx="7772400" cy="4572000"/>
          </a:xfrm>
          <a:prstGeom prst="rect">
            <a:avLst/>
          </a:prstGeom>
          <a:noFill/>
          <a:ln>
            <a:noFill/>
          </a:ln>
        </p:spPr>
        <p:txBody>
          <a:bodyPr spcFirstLastPara="1" wrap="square" lIns="92075" tIns="46025" rIns="92075" bIns="46025" anchor="t" anchorCtr="0">
            <a:noAutofit/>
          </a:bodyPr>
          <a:lstStyle/>
          <a:p>
            <a:pPr marL="0" indent="0">
              <a:lnSpc>
                <a:spcPct val="80000"/>
              </a:lnSpc>
              <a:spcBef>
                <a:spcPts val="560"/>
              </a:spcBef>
              <a:buSzPts val="2240"/>
              <a:buNone/>
            </a:pPr>
            <a:endParaRPr/>
          </a:p>
          <a:p>
            <a:pPr marL="0" indent="0">
              <a:lnSpc>
                <a:spcPct val="80000"/>
              </a:lnSpc>
              <a:spcBef>
                <a:spcPts val="560"/>
              </a:spcBef>
              <a:buSzPts val="2240"/>
              <a:buNone/>
            </a:pPr>
            <a:r>
              <a:rPr lang="en-US" sz="2400">
                <a:latin typeface="Times New Roman"/>
                <a:ea typeface="Times New Roman"/>
                <a:cs typeface="Times New Roman"/>
                <a:sym typeface="Times New Roman"/>
              </a:rPr>
              <a:t>Only 2 Birth Centers opened between 2012 and 2020</a:t>
            </a:r>
            <a:endParaRPr sz="2400">
              <a:latin typeface="Times New Roman"/>
              <a:ea typeface="Times New Roman"/>
              <a:cs typeface="Times New Roman"/>
              <a:sym typeface="Times New Roman"/>
            </a:endParaRPr>
          </a:p>
          <a:p>
            <a:pPr marL="0" indent="0">
              <a:lnSpc>
                <a:spcPct val="80000"/>
              </a:lnSpc>
              <a:spcBef>
                <a:spcPts val="560"/>
              </a:spcBef>
              <a:buSzPts val="2240"/>
              <a:buNone/>
            </a:pPr>
            <a:endParaRPr sz="1800">
              <a:latin typeface="Times New Roman"/>
              <a:ea typeface="Times New Roman"/>
              <a:cs typeface="Times New Roman"/>
              <a:sym typeface="Times New Roman"/>
            </a:endParaRPr>
          </a:p>
          <a:p>
            <a:pPr marL="57150" indent="-57150">
              <a:lnSpc>
                <a:spcPct val="90000"/>
              </a:lnSpc>
              <a:spcBef>
                <a:spcPts val="560"/>
              </a:spcBef>
              <a:buSzPts val="2240"/>
              <a:buNone/>
            </a:pPr>
            <a:r>
              <a:rPr lang="en-US" sz="2400">
                <a:latin typeface="Times New Roman"/>
                <a:ea typeface="Times New Roman"/>
                <a:cs typeface="Times New Roman"/>
                <a:sym typeface="Times New Roman"/>
              </a:rPr>
              <a:t>The operation of these birth centers shed light on barriers to the opening and sustainable operation of Birth Centers in Illinois. The Birth Center pilot program of the AHDA demonstrated safety, but restrictions were limiting development of new birth centers.</a:t>
            </a:r>
            <a:endParaRPr sz="2400">
              <a:latin typeface="Times New Roman"/>
              <a:ea typeface="Times New Roman"/>
              <a:cs typeface="Times New Roman"/>
              <a:sym typeface="Times New Roman"/>
            </a:endParaRPr>
          </a:p>
          <a:p>
            <a:pPr marL="57150" indent="-57150">
              <a:lnSpc>
                <a:spcPct val="90000"/>
              </a:lnSpc>
              <a:spcBef>
                <a:spcPts val="560"/>
              </a:spcBef>
              <a:buSzPts val="2240"/>
              <a:buNone/>
            </a:pPr>
            <a:endParaRPr sz="1800">
              <a:latin typeface="Times New Roman"/>
              <a:ea typeface="Times New Roman"/>
              <a:cs typeface="Times New Roman"/>
              <a:sym typeface="Times New Roman"/>
            </a:endParaRPr>
          </a:p>
          <a:p>
            <a:pPr marL="57150" indent="-57150">
              <a:lnSpc>
                <a:spcPct val="90000"/>
              </a:lnSpc>
              <a:spcBef>
                <a:spcPts val="560"/>
              </a:spcBef>
              <a:buSzPts val="2240"/>
              <a:buNone/>
            </a:pPr>
            <a:r>
              <a:rPr lang="en-US" sz="2400">
                <a:latin typeface="Times New Roman"/>
                <a:ea typeface="Times New Roman"/>
                <a:cs typeface="Times New Roman"/>
                <a:sym typeface="Times New Roman"/>
              </a:rPr>
              <a:t>A confluence of sociocultural, political, and economic events and influences in 2020 led to the introduction of 2 legislative bills: An amendment to the AHDA, and a separate bill for full Birth Center Licensing.</a:t>
            </a:r>
            <a:endParaRPr sz="2400">
              <a:latin typeface="Times New Roman"/>
              <a:ea typeface="Times New Roman"/>
              <a:cs typeface="Times New Roman"/>
              <a:sym typeface="Times New Roman"/>
            </a:endParaRPr>
          </a:p>
          <a:p>
            <a:pPr marL="57150" indent="-57150">
              <a:lnSpc>
                <a:spcPct val="90000"/>
              </a:lnSpc>
              <a:spcBef>
                <a:spcPts val="560"/>
              </a:spcBef>
              <a:buSzPts val="2240"/>
              <a:buNone/>
            </a:pPr>
            <a:endParaRPr sz="2400">
              <a:latin typeface="Times New Roman"/>
              <a:ea typeface="Times New Roman"/>
              <a:cs typeface="Times New Roman"/>
              <a:sym typeface="Times New Roman"/>
            </a:endParaRPr>
          </a:p>
          <a:p>
            <a:pPr marL="57150" indent="-57150">
              <a:lnSpc>
                <a:spcPct val="90000"/>
              </a:lnSpc>
              <a:spcBef>
                <a:spcPts val="560"/>
              </a:spcBef>
              <a:buSzPts val="2240"/>
              <a:buNone/>
            </a:pPr>
            <a:endParaRPr sz="2400">
              <a:latin typeface="Times New Roman"/>
              <a:ea typeface="Times New Roman"/>
              <a:cs typeface="Times New Roman"/>
              <a:sym typeface="Times New Roman"/>
            </a:endParaRPr>
          </a:p>
          <a:p>
            <a:pPr marL="342900" indent="-342900">
              <a:lnSpc>
                <a:spcPct val="90000"/>
              </a:lnSpc>
              <a:spcBef>
                <a:spcPts val="560"/>
              </a:spcBef>
              <a:buSzPts val="2240"/>
              <a:buNone/>
            </a:pPr>
            <a:endParaRPr sz="2400">
              <a:latin typeface="Times New Roman"/>
              <a:ea typeface="Times New Roman"/>
              <a:cs typeface="Times New Roman"/>
              <a:sym typeface="Times New Roman"/>
            </a:endParaRPr>
          </a:p>
          <a:p>
            <a:pPr marL="342900" indent="-342900">
              <a:lnSpc>
                <a:spcPct val="90000"/>
              </a:lnSpc>
              <a:spcBef>
                <a:spcPts val="560"/>
              </a:spcBef>
              <a:buSzPts val="2240"/>
              <a:buNone/>
            </a:pPr>
            <a:endParaRPr sz="2400">
              <a:latin typeface="Times New Roman"/>
              <a:ea typeface="Times New Roman"/>
              <a:cs typeface="Times New Roman"/>
              <a:sym typeface="Times New Roman"/>
            </a:endParaRPr>
          </a:p>
          <a:p>
            <a:pPr marL="0" indent="0">
              <a:lnSpc>
                <a:spcPct val="80000"/>
              </a:lnSpc>
              <a:spcBef>
                <a:spcPts val="400"/>
              </a:spcBef>
              <a:buSzPts val="1600"/>
              <a:buNone/>
            </a:pP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02863" y="2443987"/>
            <a:ext cx="7964170" cy="2402840"/>
          </a:xfrm>
          <a:prstGeom prst="rect">
            <a:avLst/>
          </a:prstGeom>
        </p:spPr>
        <p:txBody>
          <a:bodyPr vert="horz" wrap="square" lIns="0" tIns="12700" rIns="0" bIns="0" rtlCol="0">
            <a:spAutoFit/>
          </a:bodyPr>
          <a:lstStyle/>
          <a:p>
            <a:pPr marL="12065" marR="5080" lvl="0" indent="0" algn="ctr" defTabSz="914400" eaLnBrk="1" fontAlgn="auto" latinLnBrk="0" hangingPunct="1">
              <a:lnSpc>
                <a:spcPct val="130000"/>
              </a:lnSpc>
              <a:spcBef>
                <a:spcPts val="100"/>
              </a:spcBef>
              <a:spcAft>
                <a:spcPts val="0"/>
              </a:spcAft>
              <a:buClrTx/>
              <a:buSzTx/>
              <a:buFontTx/>
              <a:buNone/>
              <a:tabLst/>
              <a:defRPr/>
            </a:pPr>
            <a:r>
              <a:rPr kumimoji="0" sz="2400" b="1" i="1" u="none" strike="noStrike" kern="0" cap="none" spc="0" normalizeH="0" baseline="0" noProof="0" dirty="0">
                <a:ln>
                  <a:noFill/>
                </a:ln>
                <a:solidFill>
                  <a:sysClr val="windowText" lastClr="000000"/>
                </a:solidFill>
                <a:effectLst/>
                <a:uLnTx/>
                <a:uFillTx/>
                <a:latin typeface="Arial"/>
                <a:cs typeface="Arial"/>
              </a:rPr>
              <a:t>Please</a:t>
            </a:r>
            <a:r>
              <a:rPr kumimoji="0" sz="2400" b="1" i="1" u="none" strike="noStrike" kern="0" cap="none" spc="-2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observe</a:t>
            </a:r>
            <a:r>
              <a:rPr kumimoji="0" sz="2400" b="1" i="1" u="none" strike="noStrike" kern="0" cap="none" spc="-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a</a:t>
            </a:r>
            <a:r>
              <a:rPr kumimoji="0" sz="2400" b="1" i="1" u="none" strike="noStrike" kern="0" cap="none" spc="-2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moment</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of</a:t>
            </a:r>
            <a:r>
              <a:rPr kumimoji="0" sz="2400" b="1" i="1" u="none" strike="noStrike" kern="0" cap="none" spc="-2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silence</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for</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the</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10" normalizeH="0" baseline="0" noProof="0" dirty="0">
                <a:ln>
                  <a:noFill/>
                </a:ln>
                <a:solidFill>
                  <a:sysClr val="windowText" lastClr="000000"/>
                </a:solidFill>
                <a:effectLst/>
                <a:uLnTx/>
                <a:uFillTx/>
                <a:latin typeface="Arial"/>
                <a:cs typeface="Arial"/>
              </a:rPr>
              <a:t>individuals </a:t>
            </a:r>
            <a:r>
              <a:rPr kumimoji="0" sz="2400" b="1" i="1" u="none" strike="noStrike" kern="0" cap="none" spc="0" normalizeH="0" baseline="0" noProof="0" dirty="0">
                <a:ln>
                  <a:noFill/>
                </a:ln>
                <a:solidFill>
                  <a:sysClr val="windowText" lastClr="000000"/>
                </a:solidFill>
                <a:effectLst/>
                <a:uLnTx/>
                <a:uFillTx/>
                <a:latin typeface="Arial"/>
                <a:cs typeface="Arial"/>
              </a:rPr>
              <a:t>and</a:t>
            </a:r>
            <a:r>
              <a:rPr kumimoji="0" sz="2400" b="1" i="1" u="none" strike="noStrike" kern="0" cap="none" spc="-3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families</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who</a:t>
            </a:r>
            <a:r>
              <a:rPr kumimoji="0" sz="2400" b="1" i="1" u="none" strike="noStrike" kern="0" cap="none" spc="-3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have</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been</a:t>
            </a:r>
            <a:r>
              <a:rPr kumimoji="0" sz="2400" b="1" i="1" u="none" strike="noStrike" kern="0" cap="none" spc="-2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impacted</a:t>
            </a:r>
            <a:r>
              <a:rPr kumimoji="0" sz="2400" b="1" i="1" u="none" strike="noStrike" kern="0" cap="none" spc="-1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by</a:t>
            </a:r>
            <a:r>
              <a:rPr kumimoji="0" sz="2400" b="1" i="1" u="none" strike="noStrike" kern="0" cap="none" spc="-20" normalizeH="0" baseline="0" noProof="0" dirty="0">
                <a:ln>
                  <a:noFill/>
                </a:ln>
                <a:solidFill>
                  <a:sysClr val="windowText" lastClr="000000"/>
                </a:solidFill>
                <a:effectLst/>
                <a:uLnTx/>
                <a:uFillTx/>
                <a:latin typeface="Arial"/>
                <a:cs typeface="Arial"/>
              </a:rPr>
              <a:t> </a:t>
            </a:r>
            <a:r>
              <a:rPr kumimoji="0" sz="2400" b="1" i="1" u="none" strike="noStrike" kern="0" cap="none" spc="-10" normalizeH="0" baseline="0" noProof="0" dirty="0">
                <a:ln>
                  <a:noFill/>
                </a:ln>
                <a:solidFill>
                  <a:sysClr val="windowText" lastClr="000000"/>
                </a:solidFill>
                <a:effectLst/>
                <a:uLnTx/>
                <a:uFillTx/>
                <a:latin typeface="Arial"/>
                <a:cs typeface="Arial"/>
              </a:rPr>
              <a:t>maternal </a:t>
            </a:r>
            <a:r>
              <a:rPr kumimoji="0" sz="2400" b="1" i="1" u="none" strike="noStrike" kern="0" cap="none" spc="0" normalizeH="0" baseline="0" noProof="0" dirty="0">
                <a:ln>
                  <a:noFill/>
                </a:ln>
                <a:solidFill>
                  <a:sysClr val="windowText" lastClr="000000"/>
                </a:solidFill>
                <a:effectLst/>
                <a:uLnTx/>
                <a:uFillTx/>
                <a:latin typeface="Arial"/>
                <a:cs typeface="Arial"/>
              </a:rPr>
              <a:t>morbidity</a:t>
            </a:r>
            <a:r>
              <a:rPr kumimoji="0" sz="2400" b="1" i="1" u="none" strike="noStrike" kern="0" cap="none" spc="-4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and</a:t>
            </a:r>
            <a:r>
              <a:rPr kumimoji="0" sz="2400" b="1" i="1" u="none" strike="noStrike" kern="0" cap="none" spc="-2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mortality</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and</a:t>
            </a:r>
            <a:r>
              <a:rPr kumimoji="0" sz="2400" b="1" i="1" u="none" strike="noStrike" kern="0" cap="none" spc="-2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for</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all</a:t>
            </a:r>
            <a:r>
              <a:rPr kumimoji="0" sz="2400" b="1" i="1" u="none" strike="noStrike" kern="0" cap="none" spc="-2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who</a:t>
            </a:r>
            <a:r>
              <a:rPr kumimoji="0" sz="2400" b="1" i="1" u="none" strike="noStrike" kern="0" cap="none" spc="-15" normalizeH="0" baseline="0" noProof="0" dirty="0">
                <a:ln>
                  <a:noFill/>
                </a:ln>
                <a:solidFill>
                  <a:sysClr val="windowText" lastClr="000000"/>
                </a:solidFill>
                <a:effectLst/>
                <a:uLnTx/>
                <a:uFillTx/>
                <a:latin typeface="Arial"/>
                <a:cs typeface="Arial"/>
              </a:rPr>
              <a:t> </a:t>
            </a:r>
            <a:r>
              <a:rPr kumimoji="0" sz="2400" b="1" i="1" u="none" strike="noStrike" kern="0" cap="none" spc="-25" normalizeH="0" baseline="0" noProof="0" dirty="0">
                <a:ln>
                  <a:noFill/>
                </a:ln>
                <a:solidFill>
                  <a:sysClr val="windowText" lastClr="000000"/>
                </a:solidFill>
                <a:effectLst/>
                <a:uLnTx/>
                <a:uFillTx/>
                <a:latin typeface="Arial"/>
                <a:cs typeface="Arial"/>
              </a:rPr>
              <a:t>are</a:t>
            </a:r>
            <a:endParaRPr kumimoji="0" sz="2400" b="0" i="0" u="none" strike="noStrike" kern="0" cap="none" spc="0" normalizeH="0" baseline="0" noProof="0">
              <a:ln>
                <a:noFill/>
              </a:ln>
              <a:solidFill>
                <a:sysClr val="windowText" lastClr="000000"/>
              </a:solidFill>
              <a:effectLst/>
              <a:uLnTx/>
              <a:uFillTx/>
              <a:latin typeface="Arial"/>
              <a:cs typeface="Arial"/>
            </a:endParaRPr>
          </a:p>
          <a:p>
            <a:pPr marL="177165" marR="170815" lvl="0" indent="0" algn="ctr" defTabSz="914400" eaLnBrk="1" fontAlgn="auto" latinLnBrk="0" hangingPunct="1">
              <a:lnSpc>
                <a:spcPct val="130000"/>
              </a:lnSpc>
              <a:spcBef>
                <a:spcPts val="0"/>
              </a:spcBef>
              <a:spcAft>
                <a:spcPts val="0"/>
              </a:spcAft>
              <a:buClrTx/>
              <a:buSzTx/>
              <a:buFontTx/>
              <a:buNone/>
              <a:tabLst/>
              <a:defRPr/>
            </a:pPr>
            <a:r>
              <a:rPr kumimoji="0" sz="2400" b="1" i="1" u="none" strike="noStrike" kern="0" cap="none" spc="0" normalizeH="0" baseline="0" noProof="0" dirty="0">
                <a:ln>
                  <a:noFill/>
                </a:ln>
                <a:solidFill>
                  <a:sysClr val="windowText" lastClr="000000"/>
                </a:solidFill>
                <a:effectLst/>
                <a:uLnTx/>
                <a:uFillTx/>
                <a:latin typeface="Arial"/>
                <a:cs typeface="Arial"/>
              </a:rPr>
              <a:t>affected</a:t>
            </a:r>
            <a:r>
              <a:rPr kumimoji="0" sz="2400" b="1" i="1" u="none" strike="noStrike" kern="0" cap="none" spc="-3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by</a:t>
            </a:r>
            <a:r>
              <a:rPr kumimoji="0" sz="2400" b="1" i="1" u="none" strike="noStrike" kern="0" cap="none" spc="-4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institutional,</a:t>
            </a:r>
            <a:r>
              <a:rPr kumimoji="0" sz="2400" b="1" i="1" u="none" strike="noStrike" kern="0" cap="none" spc="-50"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systemic,</a:t>
            </a:r>
            <a:r>
              <a:rPr kumimoji="0" sz="2400" b="1" i="1" u="none" strike="noStrike" kern="0" cap="none" spc="-25" normalizeH="0" baseline="0" noProof="0" dirty="0">
                <a:ln>
                  <a:noFill/>
                </a:ln>
                <a:solidFill>
                  <a:sysClr val="windowText" lastClr="000000"/>
                </a:solidFill>
                <a:effectLst/>
                <a:uLnTx/>
                <a:uFillTx/>
                <a:latin typeface="Arial"/>
                <a:cs typeface="Arial"/>
              </a:rPr>
              <a:t> </a:t>
            </a:r>
            <a:r>
              <a:rPr kumimoji="0" sz="2400" b="1" i="1" u="none" strike="noStrike" kern="0" cap="none" spc="0" normalizeH="0" baseline="0" noProof="0" dirty="0">
                <a:ln>
                  <a:noFill/>
                </a:ln>
                <a:solidFill>
                  <a:sysClr val="windowText" lastClr="000000"/>
                </a:solidFill>
                <a:effectLst/>
                <a:uLnTx/>
                <a:uFillTx/>
                <a:latin typeface="Arial"/>
                <a:cs typeface="Arial"/>
              </a:rPr>
              <a:t>and</a:t>
            </a:r>
            <a:r>
              <a:rPr kumimoji="0" sz="2400" b="1" i="1" u="none" strike="noStrike" kern="0" cap="none" spc="-40" normalizeH="0" baseline="0" noProof="0" dirty="0">
                <a:ln>
                  <a:noFill/>
                </a:ln>
                <a:solidFill>
                  <a:sysClr val="windowText" lastClr="000000"/>
                </a:solidFill>
                <a:effectLst/>
                <a:uLnTx/>
                <a:uFillTx/>
                <a:latin typeface="Arial"/>
                <a:cs typeface="Arial"/>
              </a:rPr>
              <a:t> </a:t>
            </a:r>
            <a:r>
              <a:rPr kumimoji="0" sz="2400" b="1" i="1" u="none" strike="noStrike" kern="0" cap="none" spc="-10" normalizeH="0" baseline="0" noProof="0" dirty="0">
                <a:ln>
                  <a:noFill/>
                </a:ln>
                <a:solidFill>
                  <a:sysClr val="windowText" lastClr="000000"/>
                </a:solidFill>
                <a:effectLst/>
                <a:uLnTx/>
                <a:uFillTx/>
                <a:latin typeface="Arial"/>
                <a:cs typeface="Arial"/>
              </a:rPr>
              <a:t>interpersonal racism.</a:t>
            </a:r>
            <a:endParaRPr kumimoji="0" sz="2400" b="0" i="0" u="none" strike="noStrike" kern="0" cap="none" spc="0" normalizeH="0" baseline="0" noProof="0">
              <a:ln>
                <a:noFill/>
              </a:ln>
              <a:solidFill>
                <a:sysClr val="windowText" lastClr="000000"/>
              </a:solidFill>
              <a:effectLst/>
              <a:uLnTx/>
              <a:uFillTx/>
              <a:latin typeface="Arial"/>
              <a:cs typeface="Arial"/>
            </a:endParaRPr>
          </a:p>
        </p:txBody>
      </p:sp>
      <p:sp>
        <p:nvSpPr>
          <p:cNvPr id="3" name="object 3"/>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125"/>
              </a:lnSpc>
              <a:spcBef>
                <a:spcPts val="0"/>
              </a:spcBef>
              <a:spcAft>
                <a:spcPts val="0"/>
              </a:spcAft>
              <a:buClrTx/>
              <a:buSzTx/>
              <a:buFontTx/>
              <a:buNone/>
              <a:tabLst/>
              <a:defRPr/>
            </a:pPr>
            <a:fld id="{81D60167-4931-47E6-BA6A-407CBD079E47}" type="slidenum">
              <a:rPr kumimoji="0" sz="1100" b="0" i="0" u="none" strike="noStrike" kern="0" cap="none" spc="-5" normalizeH="0" baseline="0" noProof="0" dirty="0">
                <a:ln>
                  <a:noFill/>
                </a:ln>
                <a:solidFill>
                  <a:prstClr val="black"/>
                </a:solidFill>
                <a:effectLst/>
                <a:uLnTx/>
                <a:uFillTx/>
                <a:latin typeface="Palatino Linotype"/>
              </a:rPr>
              <a:pPr marL="38100" marR="0" lvl="0" indent="0" defTabSz="914400" eaLnBrk="1" fontAlgn="auto" latinLnBrk="0" hangingPunct="1">
                <a:lnSpc>
                  <a:spcPts val="1125"/>
                </a:lnSpc>
                <a:spcBef>
                  <a:spcPts val="0"/>
                </a:spcBef>
                <a:spcAft>
                  <a:spcPts val="0"/>
                </a:spcAft>
                <a:buClrTx/>
                <a:buSzTx/>
                <a:buFontTx/>
                <a:buNone/>
                <a:tabLst/>
                <a:defRPr/>
              </a:pPr>
              <a:t>2</a:t>
            </a:fld>
            <a:endParaRPr kumimoji="0" sz="1100" b="0" i="0" u="none" strike="noStrike" kern="0" cap="none" spc="-5" normalizeH="0" baseline="0" noProof="0" dirty="0">
              <a:ln>
                <a:noFill/>
              </a:ln>
              <a:solidFill>
                <a:prstClr val="black"/>
              </a:solidFill>
              <a:effectLst/>
              <a:uLnTx/>
              <a:uFillTx/>
              <a:latin typeface="Palatino Linotype"/>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31"/>
        <p:cNvGrpSpPr/>
        <p:nvPr/>
      </p:nvGrpSpPr>
      <p:grpSpPr>
        <a:xfrm>
          <a:off x="0" y="0"/>
          <a:ext cx="0" cy="0"/>
          <a:chOff x="0" y="0"/>
          <a:chExt cx="0" cy="0"/>
        </a:xfrm>
      </p:grpSpPr>
      <p:sp>
        <p:nvSpPr>
          <p:cNvPr id="232" name="Google Shape;232;g24fa8fb52e1e89f3_8"/>
          <p:cNvSpPr txBox="1">
            <a:spLocks noGrp="1"/>
          </p:cNvSpPr>
          <p:nvPr>
            <p:ph type="title"/>
          </p:nvPr>
        </p:nvSpPr>
        <p:spPr>
          <a:xfrm>
            <a:off x="2209800" y="609600"/>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IllINOIS BIRTH CENTER TASK FORCE</a:t>
            </a:r>
            <a:endParaRPr/>
          </a:p>
        </p:txBody>
      </p:sp>
      <p:sp>
        <p:nvSpPr>
          <p:cNvPr id="233" name="Google Shape;233;g24fa8fb52e1e89f3_8"/>
          <p:cNvSpPr txBox="1">
            <a:spLocks noGrp="1"/>
          </p:cNvSpPr>
          <p:nvPr>
            <p:ph type="body" idx="1"/>
          </p:nvPr>
        </p:nvSpPr>
        <p:spPr>
          <a:xfrm>
            <a:off x="2286000" y="2094338"/>
            <a:ext cx="7772400" cy="3133500"/>
          </a:xfrm>
          <a:prstGeom prst="rect">
            <a:avLst/>
          </a:prstGeom>
          <a:noFill/>
          <a:ln>
            <a:noFill/>
          </a:ln>
        </p:spPr>
        <p:txBody>
          <a:bodyPr spcFirstLastPara="1" wrap="square" lIns="92075" tIns="46025" rIns="92075" bIns="46025" anchor="t" anchorCtr="0">
            <a:noAutofit/>
          </a:bodyPr>
          <a:lstStyle/>
          <a:p>
            <a:pPr marL="342900" indent="-391160">
              <a:spcBef>
                <a:spcPts val="560"/>
              </a:spcBef>
              <a:buSzPts val="2200"/>
              <a:buFont typeface="Times New Roman"/>
              <a:buChar char="●"/>
            </a:pPr>
            <a:r>
              <a:rPr lang="en-US" sz="2200" b="0">
                <a:latin typeface="Times New Roman"/>
                <a:ea typeface="Times New Roman"/>
                <a:cs typeface="Times New Roman"/>
                <a:sym typeface="Times New Roman"/>
              </a:rPr>
              <a:t>TIMELINE</a:t>
            </a:r>
            <a:endParaRPr sz="2200" b="0">
              <a:latin typeface="Times New Roman"/>
              <a:ea typeface="Times New Roman"/>
              <a:cs typeface="Times New Roman"/>
              <a:sym typeface="Times New Roman"/>
            </a:endParaRPr>
          </a:p>
          <a:p>
            <a:pPr marL="342900" indent="0">
              <a:spcBef>
                <a:spcPts val="560"/>
              </a:spcBef>
              <a:buNone/>
            </a:pPr>
            <a:endParaRPr sz="2200" b="0">
              <a:latin typeface="Times New Roman"/>
              <a:ea typeface="Times New Roman"/>
              <a:cs typeface="Times New Roman"/>
              <a:sym typeface="Times New Roman"/>
            </a:endParaRPr>
          </a:p>
        </p:txBody>
      </p:sp>
      <p:sp>
        <p:nvSpPr>
          <p:cNvPr id="234" name="Google Shape;234;g24fa8fb52e1e89f3_8"/>
          <p:cNvSpPr txBox="1"/>
          <p:nvPr/>
        </p:nvSpPr>
        <p:spPr>
          <a:xfrm>
            <a:off x="1524000" y="5334000"/>
            <a:ext cx="3200400" cy="304800"/>
          </a:xfrm>
          <a:prstGeom prst="rect">
            <a:avLst/>
          </a:prstGeom>
          <a:gradFill>
            <a:gsLst>
              <a:gs pos="0">
                <a:schemeClr val="hlink"/>
              </a:gs>
              <a:gs pos="100000">
                <a:srgbClr val="761800"/>
              </a:gs>
            </a:gsLst>
            <a:lin ang="0" scaled="0"/>
          </a:gradFill>
          <a:ln>
            <a:noFill/>
          </a:ln>
        </p:spPr>
        <p:txBody>
          <a:bodyPr spcFirstLastPara="1" wrap="square" lIns="46025" tIns="46025" rIns="46025" bIns="46025" anchor="ctr" anchorCtr="0">
            <a:noAutofit/>
          </a:bodyPr>
          <a:lstStyle/>
          <a:p>
            <a:pPr algn="r">
              <a:buClr>
                <a:srgbClr val="FFFFFF"/>
              </a:buClr>
              <a:buSzPts val="1600"/>
            </a:pPr>
            <a:r>
              <a:rPr lang="en-US" sz="1600" b="1" kern="0">
                <a:solidFill>
                  <a:srgbClr val="FFFFFF"/>
                </a:solidFill>
                <a:latin typeface="Arial"/>
                <a:ea typeface="Arial"/>
                <a:cs typeface="Arial"/>
                <a:sym typeface="Arial"/>
              </a:rPr>
              <a:t>FOR MORE INFO...</a:t>
            </a:r>
            <a:endParaRPr sz="1400" kern="0">
              <a:solidFill>
                <a:srgbClr val="000000"/>
              </a:solidFill>
              <a:latin typeface="Arial"/>
              <a:cs typeface="Arial"/>
              <a:sym typeface="Arial"/>
            </a:endParaRPr>
          </a:p>
        </p:txBody>
      </p:sp>
      <p:sp>
        <p:nvSpPr>
          <p:cNvPr id="235" name="Google Shape;235;g24fa8fb52e1e89f3_8"/>
          <p:cNvSpPr txBox="1"/>
          <p:nvPr/>
        </p:nvSpPr>
        <p:spPr>
          <a:xfrm>
            <a:off x="2209800" y="5745050"/>
            <a:ext cx="7772400" cy="914400"/>
          </a:xfrm>
          <a:prstGeom prst="rect">
            <a:avLst/>
          </a:prstGeom>
          <a:noFill/>
          <a:ln>
            <a:noFill/>
          </a:ln>
        </p:spPr>
        <p:txBody>
          <a:bodyPr spcFirstLastPara="1" wrap="square" lIns="92075" tIns="46025" rIns="92075" bIns="46025" anchor="t" anchorCtr="0">
            <a:noAutofit/>
          </a:bodyPr>
          <a:lstStyle/>
          <a:p>
            <a:pPr algn="ctr">
              <a:buClr>
                <a:srgbClr val="FFFFFF"/>
              </a:buClr>
              <a:buSzPts val="2000"/>
            </a:pPr>
            <a:r>
              <a:rPr lang="en-US" sz="1400" kern="0">
                <a:solidFill>
                  <a:srgbClr val="000000"/>
                </a:solidFill>
                <a:latin typeface="Arial"/>
                <a:cs typeface="Arial"/>
                <a:sym typeface="Arial"/>
              </a:rPr>
              <a:t> </a:t>
            </a:r>
            <a:endParaRPr sz="2000" b="1" kern="0">
              <a:solidFill>
                <a:srgbClr val="FFFFFF"/>
              </a:solidFill>
              <a:latin typeface="Times New Roman"/>
              <a:ea typeface="Times New Roman"/>
              <a:cs typeface="Times New Roman"/>
              <a:sym typeface="Times New Roman"/>
            </a:endParaRPr>
          </a:p>
          <a:p>
            <a:pPr marL="3200400" indent="457200">
              <a:buClr>
                <a:srgbClr val="FFFFFF"/>
              </a:buClr>
              <a:buSzPts val="2000"/>
            </a:pPr>
            <a:r>
              <a:rPr lang="en-US" sz="2000" b="1" kern="0">
                <a:solidFill>
                  <a:srgbClr val="FFFFFF"/>
                </a:solidFill>
                <a:latin typeface="Times New Roman"/>
                <a:ea typeface="Times New Roman"/>
                <a:cs typeface="Times New Roman"/>
                <a:sym typeface="Times New Roman"/>
              </a:rPr>
              <a:t>                             hmprg.org</a:t>
            </a:r>
            <a:endParaRPr sz="2000" b="1" kern="0">
              <a:solidFill>
                <a:srgbClr val="FFFFFF"/>
              </a:solidFill>
              <a:latin typeface="Times New Roman"/>
              <a:ea typeface="Times New Roman"/>
              <a:cs typeface="Times New Roman"/>
              <a:sym typeface="Times New Roman"/>
            </a:endParaRPr>
          </a:p>
          <a:p>
            <a:pPr algn="ctr">
              <a:buClr>
                <a:srgbClr val="FFFFFF"/>
              </a:buClr>
              <a:buSzPts val="2000"/>
            </a:pPr>
            <a:endParaRPr sz="2000" b="1" kern="0">
              <a:solidFill>
                <a:srgbClr val="FFFFFF"/>
              </a:solidFill>
              <a:latin typeface="Times New Roman"/>
              <a:ea typeface="Times New Roman"/>
              <a:cs typeface="Times New Roman"/>
              <a:sym typeface="Times New Roman"/>
            </a:endParaRPr>
          </a:p>
        </p:txBody>
      </p:sp>
      <p:pic>
        <p:nvPicPr>
          <p:cNvPr id="236" name="Google Shape;236;g24fa8fb52e1e89f3_8"/>
          <p:cNvPicPr preferRelativeResize="0"/>
          <p:nvPr/>
        </p:nvPicPr>
        <p:blipFill>
          <a:blip r:embed="rId3">
            <a:alphaModFix/>
          </a:blip>
          <a:stretch>
            <a:fillRect/>
          </a:stretch>
        </p:blipFill>
        <p:spPr>
          <a:xfrm>
            <a:off x="4884314" y="5600352"/>
            <a:ext cx="2575755" cy="876660"/>
          </a:xfrm>
          <a:prstGeom prst="rect">
            <a:avLst/>
          </a:prstGeom>
          <a:noFill/>
          <a:ln>
            <a:noFill/>
          </a:ln>
        </p:spPr>
      </p:pic>
      <p:pic>
        <p:nvPicPr>
          <p:cNvPr id="237" name="Google Shape;237;g24fa8fb52e1e89f3_8"/>
          <p:cNvPicPr preferRelativeResize="0"/>
          <p:nvPr/>
        </p:nvPicPr>
        <p:blipFill rotWithShape="1">
          <a:blip r:embed="rId4">
            <a:alphaModFix/>
          </a:blip>
          <a:srcRect/>
          <a:stretch/>
        </p:blipFill>
        <p:spPr>
          <a:xfrm>
            <a:off x="1824350" y="225276"/>
            <a:ext cx="8543276" cy="6407451"/>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sp>
        <p:nvSpPr>
          <p:cNvPr id="242" name="Google Shape;242;g2c3ae3632cd_0_7"/>
          <p:cNvSpPr txBox="1">
            <a:spLocks noGrp="1"/>
          </p:cNvSpPr>
          <p:nvPr>
            <p:ph type="title"/>
          </p:nvPr>
        </p:nvSpPr>
        <p:spPr>
          <a:xfrm>
            <a:off x="2209800" y="901775"/>
            <a:ext cx="8033400" cy="5211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3300" dirty="0">
                <a:solidFill>
                  <a:schemeClr val="lt1"/>
                </a:solidFill>
                <a:latin typeface="Oswald"/>
                <a:ea typeface="Oswald"/>
                <a:cs typeface="Oswald"/>
                <a:sym typeface="Oswald"/>
              </a:rPr>
              <a:t>EXISTING BIRTH CENTERS IN ILLINOIS</a:t>
            </a:r>
            <a:r>
              <a:rPr lang="en-US" sz="3300" dirty="0"/>
              <a:t>                                             </a:t>
            </a:r>
            <a:r>
              <a:rPr lang="en-US" sz="3300" dirty="0">
                <a:solidFill>
                  <a:schemeClr val="lt1"/>
                </a:solidFill>
                <a:latin typeface="Oswald"/>
                <a:ea typeface="Oswald"/>
                <a:cs typeface="Oswald"/>
                <a:sym typeface="Oswald"/>
              </a:rPr>
              <a:t>                                                    </a:t>
            </a:r>
            <a:endParaRPr sz="3300" dirty="0">
              <a:solidFill>
                <a:schemeClr val="lt1"/>
              </a:solidFill>
              <a:latin typeface="Oswald"/>
              <a:ea typeface="Oswald"/>
              <a:cs typeface="Oswald"/>
              <a:sym typeface="Oswald"/>
            </a:endParaRPr>
          </a:p>
        </p:txBody>
      </p:sp>
      <p:sp>
        <p:nvSpPr>
          <p:cNvPr id="243" name="Google Shape;243;g2c3ae3632cd_0_7"/>
          <p:cNvSpPr txBox="1">
            <a:spLocks noGrp="1"/>
          </p:cNvSpPr>
          <p:nvPr>
            <p:ph type="body" idx="1"/>
          </p:nvPr>
        </p:nvSpPr>
        <p:spPr>
          <a:xfrm>
            <a:off x="2515275" y="2210650"/>
            <a:ext cx="7140900" cy="3767100"/>
          </a:xfrm>
          <a:prstGeom prst="rect">
            <a:avLst/>
          </a:prstGeom>
          <a:noFill/>
          <a:ln>
            <a:noFill/>
          </a:ln>
        </p:spPr>
        <p:txBody>
          <a:bodyPr spcFirstLastPara="1" wrap="square" lIns="92075" tIns="46025" rIns="92075" bIns="46025" anchor="t" anchorCtr="0">
            <a:noAutofit/>
          </a:bodyPr>
          <a:lstStyle/>
          <a:p>
            <a:pPr marL="342900" indent="-406400">
              <a:lnSpc>
                <a:spcPct val="150000"/>
              </a:lnSpc>
              <a:spcBef>
                <a:spcPts val="0"/>
              </a:spcBef>
              <a:buSzPts val="2800"/>
              <a:buFont typeface="Noto Sans Symbols"/>
              <a:buAutoNum type="arabicPeriod"/>
            </a:pPr>
            <a:r>
              <a:rPr lang="en-US" sz="2800" b="0" dirty="0">
                <a:latin typeface="Times New Roman"/>
                <a:ea typeface="Times New Roman"/>
                <a:cs typeface="Times New Roman"/>
                <a:sym typeface="Times New Roman"/>
              </a:rPr>
              <a:t>Birth Center at PCC (2014) Berwyn, IL</a:t>
            </a:r>
            <a:endParaRPr sz="2800" b="0" dirty="0">
              <a:latin typeface="Times New Roman"/>
              <a:ea typeface="Times New Roman"/>
              <a:cs typeface="Times New Roman"/>
              <a:sym typeface="Times New Roman"/>
            </a:endParaRPr>
          </a:p>
          <a:p>
            <a:pPr marL="342900" indent="-406400">
              <a:lnSpc>
                <a:spcPct val="150000"/>
              </a:lnSpc>
              <a:spcBef>
                <a:spcPts val="0"/>
              </a:spcBef>
              <a:buSzPts val="2800"/>
              <a:buFont typeface="Times New Roman"/>
              <a:buAutoNum type="arabicPeriod"/>
            </a:pPr>
            <a:r>
              <a:rPr lang="en-US" sz="2800" b="0" dirty="0">
                <a:latin typeface="Times New Roman"/>
                <a:ea typeface="Times New Roman"/>
                <a:cs typeface="Times New Roman"/>
                <a:sym typeface="Times New Roman"/>
              </a:rPr>
              <a:t>Birth Center of Bloomington Normal (2016)</a:t>
            </a:r>
            <a:endParaRPr sz="2800" b="0" dirty="0">
              <a:latin typeface="Times New Roman"/>
              <a:ea typeface="Times New Roman"/>
              <a:cs typeface="Times New Roman"/>
              <a:sym typeface="Times New Roman"/>
            </a:endParaRPr>
          </a:p>
          <a:p>
            <a:pPr marL="342900" indent="-406400">
              <a:lnSpc>
                <a:spcPct val="150000"/>
              </a:lnSpc>
              <a:spcBef>
                <a:spcPts val="0"/>
              </a:spcBef>
              <a:buSzPts val="2800"/>
              <a:buFont typeface="Times New Roman"/>
              <a:buAutoNum type="arabicPeriod"/>
            </a:pPr>
            <a:r>
              <a:rPr lang="en-US" sz="2800" b="0" dirty="0">
                <a:latin typeface="Times New Roman"/>
                <a:ea typeface="Times New Roman"/>
                <a:cs typeface="Times New Roman"/>
                <a:sym typeface="Times New Roman"/>
              </a:rPr>
              <a:t>Burr Ridge Birth Center (2021)</a:t>
            </a:r>
            <a:endParaRPr sz="2800" b="0" dirty="0">
              <a:latin typeface="Times New Roman"/>
              <a:ea typeface="Times New Roman"/>
              <a:cs typeface="Times New Roman"/>
              <a:sym typeface="Times New Roman"/>
            </a:endParaRPr>
          </a:p>
          <a:p>
            <a:pPr marL="342900" indent="-406400">
              <a:lnSpc>
                <a:spcPct val="150000"/>
              </a:lnSpc>
              <a:spcBef>
                <a:spcPts val="0"/>
              </a:spcBef>
              <a:buSzPts val="2800"/>
              <a:buFont typeface="Times New Roman"/>
              <a:buAutoNum type="arabicPeriod"/>
            </a:pPr>
            <a:r>
              <a:rPr lang="en-US" sz="2800" b="0" dirty="0">
                <a:latin typeface="Times New Roman"/>
                <a:ea typeface="Times New Roman"/>
                <a:cs typeface="Times New Roman"/>
                <a:sym typeface="Times New Roman"/>
              </a:rPr>
              <a:t>Birth Center of Chicago (2021)</a:t>
            </a:r>
            <a:endParaRPr sz="2800" b="0" dirty="0">
              <a:latin typeface="Times New Roman"/>
              <a:ea typeface="Times New Roman"/>
              <a:cs typeface="Times New Roman"/>
              <a:sym typeface="Times New Roman"/>
            </a:endParaRPr>
          </a:p>
          <a:p>
            <a:pPr marL="342900" indent="-406400">
              <a:lnSpc>
                <a:spcPct val="150000"/>
              </a:lnSpc>
              <a:spcBef>
                <a:spcPts val="0"/>
              </a:spcBef>
              <a:buSzPts val="2800"/>
              <a:buFont typeface="Times New Roman"/>
              <a:buAutoNum type="arabicPeriod"/>
            </a:pPr>
            <a:r>
              <a:rPr lang="en-US" sz="2800" b="0" dirty="0" err="1">
                <a:latin typeface="Times New Roman"/>
                <a:ea typeface="Times New Roman"/>
                <a:cs typeface="Times New Roman"/>
                <a:sym typeface="Times New Roman"/>
              </a:rPr>
              <a:t>NorthPointe</a:t>
            </a:r>
            <a:r>
              <a:rPr lang="en-US" sz="2800" b="0" dirty="0">
                <a:latin typeface="Times New Roman"/>
                <a:ea typeface="Times New Roman"/>
                <a:cs typeface="Times New Roman"/>
                <a:sym typeface="Times New Roman"/>
              </a:rPr>
              <a:t> Birth Center (2023) Roscoe, IL</a:t>
            </a:r>
            <a:endParaRPr sz="2800" b="0" dirty="0">
              <a:latin typeface="Times New Roman"/>
              <a:ea typeface="Times New Roman"/>
              <a:cs typeface="Times New Roman"/>
              <a:sym typeface="Times New Roman"/>
            </a:endParaRPr>
          </a:p>
          <a:p>
            <a:pPr marL="342900" indent="0">
              <a:lnSpc>
                <a:spcPct val="150000"/>
              </a:lnSpc>
              <a:spcBef>
                <a:spcPts val="0"/>
              </a:spcBef>
              <a:buNone/>
            </a:pPr>
            <a:endParaRPr dirty="0"/>
          </a:p>
          <a:p>
            <a:pPr marL="342900" indent="0">
              <a:spcBef>
                <a:spcPts val="0"/>
              </a:spcBef>
              <a:buNone/>
            </a:pPr>
            <a:endParaRPr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Google Shape;248;g2c3ae3632cd_0_20"/>
          <p:cNvSpPr txBox="1">
            <a:spLocks noGrp="1"/>
          </p:cNvSpPr>
          <p:nvPr>
            <p:ph type="title"/>
          </p:nvPr>
        </p:nvSpPr>
        <p:spPr>
          <a:xfrm>
            <a:off x="1888150" y="901775"/>
            <a:ext cx="8517000" cy="5211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3200" dirty="0">
                <a:solidFill>
                  <a:schemeClr val="lt1"/>
                </a:solidFill>
                <a:latin typeface="Oswald"/>
                <a:ea typeface="Oswald"/>
                <a:cs typeface="Oswald"/>
                <a:sym typeface="Oswald"/>
              </a:rPr>
              <a:t>DEVELOPING BIRTH CENTERS IN ILLINOIS</a:t>
            </a:r>
            <a:r>
              <a:rPr lang="en-US" sz="3200" dirty="0"/>
              <a:t>                                             </a:t>
            </a:r>
            <a:r>
              <a:rPr lang="en-US" sz="3200" dirty="0">
                <a:solidFill>
                  <a:schemeClr val="lt1"/>
                </a:solidFill>
                <a:latin typeface="Oswald"/>
                <a:ea typeface="Oswald"/>
                <a:cs typeface="Oswald"/>
                <a:sym typeface="Oswald"/>
              </a:rPr>
              <a:t>                                                    </a:t>
            </a:r>
            <a:endParaRPr sz="3200" dirty="0">
              <a:solidFill>
                <a:schemeClr val="lt1"/>
              </a:solidFill>
              <a:latin typeface="Oswald"/>
              <a:ea typeface="Oswald"/>
              <a:cs typeface="Oswald"/>
              <a:sym typeface="Oswald"/>
            </a:endParaRPr>
          </a:p>
        </p:txBody>
      </p:sp>
      <p:sp>
        <p:nvSpPr>
          <p:cNvPr id="249" name="Google Shape;249;g2c3ae3632cd_0_20"/>
          <p:cNvSpPr txBox="1">
            <a:spLocks noGrp="1"/>
          </p:cNvSpPr>
          <p:nvPr>
            <p:ph type="body" idx="1"/>
          </p:nvPr>
        </p:nvSpPr>
        <p:spPr>
          <a:xfrm>
            <a:off x="2460125" y="2210650"/>
            <a:ext cx="7196400" cy="3767100"/>
          </a:xfrm>
          <a:prstGeom prst="rect">
            <a:avLst/>
          </a:prstGeom>
          <a:noFill/>
          <a:ln>
            <a:noFill/>
          </a:ln>
        </p:spPr>
        <p:txBody>
          <a:bodyPr spcFirstLastPara="1" wrap="square" lIns="92075" tIns="46025" rIns="92075" bIns="46025" anchor="t" anchorCtr="0">
            <a:noAutofit/>
          </a:bodyPr>
          <a:lstStyle/>
          <a:p>
            <a:pPr marL="342900" indent="-358140">
              <a:spcBef>
                <a:spcPts val="0"/>
              </a:spcBef>
              <a:buSzPts val="2800"/>
              <a:buFont typeface="Noto Sans Symbols"/>
              <a:buAutoNum type="arabicPeriod"/>
            </a:pPr>
            <a:r>
              <a:rPr lang="en-US" sz="2800" b="0" dirty="0">
                <a:latin typeface="Times New Roman"/>
                <a:ea typeface="Times New Roman"/>
                <a:cs typeface="Times New Roman"/>
                <a:sym typeface="Times New Roman"/>
              </a:rPr>
              <a:t>Chicago Southside Birth Center</a:t>
            </a:r>
            <a:endParaRPr sz="2800" b="0" dirty="0">
              <a:latin typeface="Times New Roman"/>
              <a:ea typeface="Times New Roman"/>
              <a:cs typeface="Times New Roman"/>
              <a:sym typeface="Times New Roman"/>
            </a:endParaRPr>
          </a:p>
          <a:p>
            <a:pPr marL="342900" indent="0">
              <a:spcBef>
                <a:spcPts val="0"/>
              </a:spcBef>
              <a:buNone/>
            </a:pPr>
            <a:endParaRPr sz="2800" b="0" dirty="0">
              <a:latin typeface="Times New Roman"/>
              <a:ea typeface="Times New Roman"/>
              <a:cs typeface="Times New Roman"/>
              <a:sym typeface="Times New Roman"/>
            </a:endParaRPr>
          </a:p>
          <a:p>
            <a:pPr marL="342900" indent="-358140">
              <a:spcBef>
                <a:spcPts val="0"/>
              </a:spcBef>
              <a:buSzPts val="2800"/>
              <a:buFont typeface="Times New Roman"/>
              <a:buAutoNum type="arabicPeriod"/>
            </a:pPr>
            <a:r>
              <a:rPr lang="en-US" sz="2800" b="0" dirty="0">
                <a:latin typeface="Times New Roman"/>
                <a:ea typeface="Times New Roman"/>
                <a:cs typeface="Times New Roman"/>
                <a:sym typeface="Times New Roman"/>
              </a:rPr>
              <a:t>QMG Birth Center, Quincy IL </a:t>
            </a:r>
            <a:endParaRPr sz="2800" b="0" dirty="0">
              <a:latin typeface="Times New Roman"/>
              <a:ea typeface="Times New Roman"/>
              <a:cs typeface="Times New Roman"/>
              <a:sym typeface="Times New Roman"/>
            </a:endParaRPr>
          </a:p>
          <a:p>
            <a:pPr marL="342900" indent="0">
              <a:spcBef>
                <a:spcPts val="0"/>
              </a:spcBef>
              <a:buNone/>
            </a:pPr>
            <a:endParaRPr sz="2800" b="0" dirty="0">
              <a:latin typeface="Times New Roman"/>
              <a:ea typeface="Times New Roman"/>
              <a:cs typeface="Times New Roman"/>
              <a:sym typeface="Times New Roman"/>
            </a:endParaRPr>
          </a:p>
          <a:p>
            <a:pPr marL="342900" indent="-358140">
              <a:spcBef>
                <a:spcPts val="0"/>
              </a:spcBef>
              <a:buSzPts val="2800"/>
              <a:buFont typeface="Times New Roman"/>
              <a:buAutoNum type="arabicPeriod"/>
            </a:pPr>
            <a:r>
              <a:rPr lang="en-US" sz="2800" b="0" dirty="0">
                <a:latin typeface="Times New Roman"/>
                <a:ea typeface="Times New Roman"/>
                <a:cs typeface="Times New Roman"/>
                <a:sym typeface="Times New Roman"/>
              </a:rPr>
              <a:t>Illinois Valley Birth Center , Peru, IL</a:t>
            </a:r>
            <a:endParaRPr sz="2800" b="0" dirty="0">
              <a:latin typeface="Times New Roman"/>
              <a:ea typeface="Times New Roman"/>
              <a:cs typeface="Times New Roman"/>
              <a:sym typeface="Times New Roman"/>
            </a:endParaRPr>
          </a:p>
          <a:p>
            <a:pPr marL="342900" indent="0">
              <a:spcBef>
                <a:spcPts val="0"/>
              </a:spcBef>
              <a:buNone/>
            </a:pPr>
            <a:endParaRPr sz="2800" b="0" dirty="0">
              <a:latin typeface="Times New Roman"/>
              <a:ea typeface="Times New Roman"/>
              <a:cs typeface="Times New Roman"/>
              <a:sym typeface="Times New Roman"/>
            </a:endParaRPr>
          </a:p>
          <a:p>
            <a:pPr marL="342900" indent="-358140">
              <a:spcBef>
                <a:spcPts val="0"/>
              </a:spcBef>
              <a:buSzPts val="2800"/>
              <a:buFont typeface="Times New Roman"/>
              <a:buAutoNum type="arabicPeriod"/>
            </a:pPr>
            <a:r>
              <a:rPr lang="en-US" sz="2800" b="0" dirty="0" err="1">
                <a:latin typeface="Times New Roman"/>
                <a:ea typeface="Times New Roman"/>
                <a:cs typeface="Times New Roman"/>
                <a:sym typeface="Times New Roman"/>
              </a:rPr>
              <a:t>Spero</a:t>
            </a:r>
            <a:r>
              <a:rPr lang="en-US" sz="2800" b="0" dirty="0">
                <a:latin typeface="Times New Roman"/>
                <a:ea typeface="Times New Roman"/>
                <a:cs typeface="Times New Roman"/>
                <a:sym typeface="Times New Roman"/>
              </a:rPr>
              <a:t> Family Services, Mount Vernon, IL</a:t>
            </a:r>
            <a:endParaRPr sz="2800" b="0" dirty="0">
              <a:latin typeface="Times New Roman"/>
              <a:ea typeface="Times New Roman"/>
              <a:cs typeface="Times New Roman"/>
              <a:sym typeface="Times New Roman"/>
            </a:endParaRPr>
          </a:p>
          <a:p>
            <a:pPr marL="342900" indent="0">
              <a:spcBef>
                <a:spcPts val="0"/>
              </a:spcBef>
              <a:buNone/>
            </a:pPr>
            <a:endParaRPr dirty="0"/>
          </a:p>
          <a:p>
            <a:pPr marL="342900" indent="0">
              <a:spcBef>
                <a:spcPts val="0"/>
              </a:spcBef>
              <a:buNone/>
            </a:pPr>
            <a:endParaRPr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Shape 253"/>
        <p:cNvGrpSpPr/>
        <p:nvPr/>
      </p:nvGrpSpPr>
      <p:grpSpPr>
        <a:xfrm>
          <a:off x="0" y="0"/>
          <a:ext cx="0" cy="0"/>
          <a:chOff x="0" y="0"/>
          <a:chExt cx="0" cy="0"/>
        </a:xfrm>
      </p:grpSpPr>
      <p:sp>
        <p:nvSpPr>
          <p:cNvPr id="254" name="Google Shape;254;p19"/>
          <p:cNvSpPr txBox="1">
            <a:spLocks noGrp="1"/>
          </p:cNvSpPr>
          <p:nvPr>
            <p:ph type="title"/>
          </p:nvPr>
        </p:nvSpPr>
        <p:spPr>
          <a:xfrm>
            <a:off x="2209800" y="609600"/>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THE ILLINOIS EXPERIENCE</a:t>
            </a:r>
            <a:endParaRPr/>
          </a:p>
        </p:txBody>
      </p:sp>
      <p:sp>
        <p:nvSpPr>
          <p:cNvPr id="255" name="Google Shape;255;p19"/>
          <p:cNvSpPr txBox="1"/>
          <p:nvPr/>
        </p:nvSpPr>
        <p:spPr>
          <a:xfrm>
            <a:off x="2438400" y="2447850"/>
            <a:ext cx="7010400" cy="1262100"/>
          </a:xfrm>
          <a:prstGeom prst="rect">
            <a:avLst/>
          </a:prstGeom>
          <a:noFill/>
          <a:ln>
            <a:noFill/>
          </a:ln>
        </p:spPr>
        <p:txBody>
          <a:bodyPr spcFirstLastPara="1" wrap="square" lIns="91425" tIns="45700" rIns="91425" bIns="45700" anchor="t" anchorCtr="0">
            <a:spAutoFit/>
          </a:bodyPr>
          <a:lstStyle/>
          <a:p>
            <a:pPr>
              <a:buClr>
                <a:srgbClr val="333333"/>
              </a:buClr>
              <a:buSzPts val="2400"/>
            </a:pPr>
            <a:r>
              <a:rPr lang="en-US" sz="2400" i="1" kern="0">
                <a:solidFill>
                  <a:srgbClr val="333333"/>
                </a:solidFill>
                <a:latin typeface="Arial"/>
                <a:ea typeface="Arial"/>
                <a:cs typeface="Arial"/>
                <a:sym typeface="Arial"/>
              </a:rPr>
              <a:t> </a:t>
            </a:r>
            <a:endParaRPr sz="1400" kern="0">
              <a:solidFill>
                <a:srgbClr val="000000"/>
              </a:solidFill>
              <a:latin typeface="Arial"/>
              <a:cs typeface="Arial"/>
              <a:sym typeface="Arial"/>
            </a:endParaRPr>
          </a:p>
          <a:p>
            <a:pPr algn="ctr">
              <a:spcBef>
                <a:spcPts val="480"/>
              </a:spcBef>
              <a:buClr>
                <a:srgbClr val="FFFFFF"/>
              </a:buClr>
              <a:buSzPts val="2400"/>
            </a:pPr>
            <a:endParaRPr sz="2400" i="1" kern="0">
              <a:solidFill>
                <a:srgbClr val="FFFFFF"/>
              </a:solidFill>
              <a:latin typeface="Times New Roman"/>
              <a:ea typeface="Times New Roman"/>
              <a:cs typeface="Times New Roman"/>
              <a:sym typeface="Times New Roman"/>
            </a:endParaRPr>
          </a:p>
          <a:p>
            <a:pPr>
              <a:buClr>
                <a:srgbClr val="000000"/>
              </a:buClr>
            </a:pPr>
            <a:endParaRPr sz="2400" i="1" kern="0">
              <a:solidFill>
                <a:srgbClr val="FFFFFF"/>
              </a:solidFill>
              <a:latin typeface="Times New Roman"/>
              <a:ea typeface="Times New Roman"/>
              <a:cs typeface="Times New Roman"/>
              <a:sym typeface="Times New Roman"/>
            </a:endParaRPr>
          </a:p>
        </p:txBody>
      </p:sp>
      <p:sp>
        <p:nvSpPr>
          <p:cNvPr id="256" name="Google Shape;256;p19"/>
          <p:cNvSpPr txBox="1">
            <a:spLocks noGrp="1"/>
          </p:cNvSpPr>
          <p:nvPr>
            <p:ph type="body" idx="4294967295"/>
          </p:nvPr>
        </p:nvSpPr>
        <p:spPr>
          <a:xfrm>
            <a:off x="2133600" y="2609675"/>
            <a:ext cx="7848600" cy="2609700"/>
          </a:xfrm>
          <a:prstGeom prst="rect">
            <a:avLst/>
          </a:prstGeom>
          <a:noFill/>
          <a:ln>
            <a:noFill/>
          </a:ln>
        </p:spPr>
        <p:txBody>
          <a:bodyPr spcFirstLastPara="1" wrap="square" lIns="92075" tIns="46025" rIns="92075" bIns="46025" anchor="t" anchorCtr="0">
            <a:noAutofit/>
          </a:bodyPr>
          <a:lstStyle/>
          <a:p>
            <a:pPr marL="0" indent="0" algn="ctr">
              <a:lnSpc>
                <a:spcPct val="115000"/>
              </a:lnSpc>
              <a:spcBef>
                <a:spcPts val="0"/>
              </a:spcBef>
              <a:buSzPts val="2240"/>
              <a:buNone/>
            </a:pPr>
            <a:r>
              <a:rPr lang="en-US" sz="2900" i="1">
                <a:solidFill>
                  <a:srgbClr val="FFFF66"/>
                </a:solidFill>
                <a:latin typeface="Times New Roman"/>
                <a:ea typeface="Times New Roman"/>
                <a:cs typeface="Times New Roman"/>
                <a:sym typeface="Times New Roman"/>
              </a:rPr>
              <a:t>The secret of change is to focus all of your energy, not on fighting the old, but on building the new.</a:t>
            </a:r>
            <a:endParaRPr sz="2900" i="1">
              <a:solidFill>
                <a:srgbClr val="FFFF66"/>
              </a:solidFill>
              <a:latin typeface="Times New Roman"/>
              <a:ea typeface="Times New Roman"/>
              <a:cs typeface="Times New Roman"/>
              <a:sym typeface="Times New Roman"/>
            </a:endParaRPr>
          </a:p>
          <a:p>
            <a:pPr marL="0" indent="0">
              <a:lnSpc>
                <a:spcPct val="90000"/>
              </a:lnSpc>
              <a:spcBef>
                <a:spcPts val="560"/>
              </a:spcBef>
              <a:buSzPts val="2240"/>
              <a:buNone/>
            </a:pPr>
            <a:endParaRPr/>
          </a:p>
          <a:p>
            <a:pPr marL="0" indent="0">
              <a:lnSpc>
                <a:spcPct val="90000"/>
              </a:lnSpc>
              <a:spcBef>
                <a:spcPts val="560"/>
              </a:spcBef>
              <a:buSzPts val="2240"/>
              <a:buNone/>
            </a:pPr>
            <a:endParaRPr/>
          </a:p>
          <a:p>
            <a:pPr marL="0" indent="0">
              <a:lnSpc>
                <a:spcPct val="90000"/>
              </a:lnSpc>
              <a:spcBef>
                <a:spcPts val="560"/>
              </a:spcBef>
              <a:buSzPts val="2240"/>
              <a:buNone/>
            </a:pPr>
            <a:endParaRPr/>
          </a:p>
          <a:p>
            <a:pPr marL="342900" indent="-342900" algn="ctr">
              <a:lnSpc>
                <a:spcPct val="90000"/>
              </a:lnSpc>
              <a:spcBef>
                <a:spcPts val="400"/>
              </a:spcBef>
              <a:buSzPts val="1600"/>
              <a:buNone/>
            </a:pPr>
            <a:r>
              <a:rPr lang="en-US" sz="2000" b="0" i="1">
                <a:latin typeface="Times New Roman"/>
                <a:ea typeface="Times New Roman"/>
                <a:cs typeface="Times New Roman"/>
                <a:sym typeface="Times New Roman"/>
              </a:rPr>
              <a:t>                                                                              </a:t>
            </a:r>
            <a:r>
              <a:rPr lang="en-US" sz="2500" b="0" i="1">
                <a:latin typeface="Times New Roman"/>
                <a:ea typeface="Times New Roman"/>
                <a:cs typeface="Times New Roman"/>
                <a:sym typeface="Times New Roman"/>
              </a:rPr>
              <a:t>   -Socrates</a:t>
            </a:r>
            <a:endParaRPr sz="2500" b="0" i="1">
              <a:latin typeface="Times New Roman"/>
              <a:ea typeface="Times New Roman"/>
              <a:cs typeface="Times New Roman"/>
              <a:sym typeface="Times New Roman"/>
            </a:endParaRPr>
          </a:p>
          <a:p>
            <a:pPr marL="342900" indent="-342900" algn="ctr">
              <a:lnSpc>
                <a:spcPct val="90000"/>
              </a:lnSpc>
              <a:spcBef>
                <a:spcPts val="400"/>
              </a:spcBef>
              <a:buSzPts val="1600"/>
              <a:buNone/>
            </a:pPr>
            <a:r>
              <a:rPr lang="en-US" sz="2500" b="0" i="1">
                <a:latin typeface="Times New Roman"/>
                <a:ea typeface="Times New Roman"/>
                <a:cs typeface="Times New Roman"/>
                <a:sym typeface="Times New Roman"/>
              </a:rPr>
              <a:t>(The gas station attendant, not the Greek philosopher)</a:t>
            </a:r>
            <a:endParaRPr sz="2500" b="0" i="1">
              <a:latin typeface="Times New Roman"/>
              <a:ea typeface="Times New Roman"/>
              <a:cs typeface="Times New Roman"/>
              <a:sym typeface="Times New Roman"/>
            </a:endParaRPr>
          </a:p>
          <a:p>
            <a:pPr marL="342900" indent="-342900" algn="ctr">
              <a:lnSpc>
                <a:spcPct val="90000"/>
              </a:lnSpc>
              <a:spcBef>
                <a:spcPts val="400"/>
              </a:spcBef>
              <a:buSzPts val="1600"/>
              <a:buNone/>
            </a:pPr>
            <a:endParaRPr sz="2000" b="0" i="1">
              <a:latin typeface="Times New Roman"/>
              <a:ea typeface="Times New Roman"/>
              <a:cs typeface="Times New Roman"/>
              <a:sym typeface="Times New Roman"/>
            </a:endParaRPr>
          </a:p>
          <a:p>
            <a:pPr marL="342900" indent="-342900" algn="ctr">
              <a:lnSpc>
                <a:spcPct val="90000"/>
              </a:lnSpc>
              <a:spcBef>
                <a:spcPts val="560"/>
              </a:spcBef>
              <a:buSzPts val="2240"/>
              <a:buNone/>
            </a:pPr>
            <a:endParaRP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261" name="Google Shape;261;g26c7498c8a8_0_10"/>
          <p:cNvSpPr txBox="1">
            <a:spLocks noGrp="1"/>
          </p:cNvSpPr>
          <p:nvPr>
            <p:ph type="title"/>
          </p:nvPr>
        </p:nvSpPr>
        <p:spPr>
          <a:xfrm>
            <a:off x="1862668" y="609600"/>
            <a:ext cx="8410221" cy="1143000"/>
          </a:xfrm>
          <a:prstGeom prst="rect">
            <a:avLst/>
          </a:prstGeom>
          <a:noFill/>
          <a:ln>
            <a:noFill/>
          </a:ln>
        </p:spPr>
        <p:txBody>
          <a:bodyPr spcFirstLastPara="1" wrap="square" lIns="92075" tIns="46025" rIns="92075" bIns="46025" anchor="ctr" anchorCtr="0">
            <a:noAutofit/>
          </a:bodyPr>
          <a:lstStyle/>
          <a:p>
            <a:pPr lvl="0">
              <a:buClr>
                <a:schemeClr val="lt2"/>
              </a:buClr>
              <a:buSzPts val="4400"/>
            </a:pPr>
            <a:r>
              <a:rPr lang="en-US" sz="3400" dirty="0">
                <a:solidFill>
                  <a:schemeClr val="lt1"/>
                </a:solidFill>
                <a:latin typeface="Oswald"/>
                <a:ea typeface="Oswald"/>
                <a:cs typeface="Oswald"/>
                <a:sym typeface="Oswald"/>
              </a:rPr>
              <a:t>THE ILLINOIS EXPERIENCE: BARRIERS</a:t>
            </a:r>
            <a:endParaRPr sz="3400" dirty="0"/>
          </a:p>
        </p:txBody>
      </p:sp>
      <p:sp>
        <p:nvSpPr>
          <p:cNvPr id="262" name="Google Shape;262;g26c7498c8a8_0_10"/>
          <p:cNvSpPr txBox="1">
            <a:spLocks noGrp="1"/>
          </p:cNvSpPr>
          <p:nvPr>
            <p:ph type="body" idx="1"/>
          </p:nvPr>
        </p:nvSpPr>
        <p:spPr>
          <a:xfrm>
            <a:off x="2209800" y="1658875"/>
            <a:ext cx="7772400" cy="4665600"/>
          </a:xfrm>
          <a:prstGeom prst="rect">
            <a:avLst/>
          </a:prstGeom>
          <a:noFill/>
          <a:ln>
            <a:noFill/>
          </a:ln>
        </p:spPr>
        <p:txBody>
          <a:bodyPr spcFirstLastPara="1" wrap="square" lIns="92075" tIns="46025" rIns="92075" bIns="46025" anchor="t" anchorCtr="0">
            <a:noAutofit/>
          </a:bodyPr>
          <a:lstStyle/>
          <a:p>
            <a:pPr marL="0" indent="0">
              <a:lnSpc>
                <a:spcPct val="80000"/>
              </a:lnSpc>
              <a:spcBef>
                <a:spcPts val="560"/>
              </a:spcBef>
              <a:buSzPts val="2240"/>
              <a:buNone/>
            </a:pPr>
            <a:endParaRPr/>
          </a:p>
          <a:p>
            <a:pPr marL="0" indent="0">
              <a:lnSpc>
                <a:spcPct val="80000"/>
              </a:lnSpc>
              <a:spcBef>
                <a:spcPts val="560"/>
              </a:spcBef>
              <a:buSzPts val="2240"/>
              <a:buNone/>
            </a:pPr>
            <a:r>
              <a:rPr lang="en-US" sz="2400">
                <a:latin typeface="Times New Roman"/>
                <a:ea typeface="Times New Roman"/>
                <a:cs typeface="Times New Roman"/>
                <a:sym typeface="Times New Roman"/>
              </a:rPr>
              <a:t>In 2024, the 5 Existing and 4 Developing Birth Centers in Illinois have ongoing challenges:</a:t>
            </a:r>
            <a:endParaRPr sz="2400">
              <a:latin typeface="Times New Roman"/>
              <a:ea typeface="Times New Roman"/>
              <a:cs typeface="Times New Roman"/>
              <a:sym typeface="Times New Roman"/>
            </a:endParaRPr>
          </a:p>
          <a:p>
            <a:pPr marL="342900">
              <a:spcBef>
                <a:spcPts val="640"/>
              </a:spcBef>
              <a:buSzPts val="2200"/>
              <a:buFont typeface="Times New Roman"/>
              <a:buChar char="●"/>
            </a:pPr>
            <a:r>
              <a:rPr lang="en-US" sz="2200">
                <a:latin typeface="Times New Roman"/>
                <a:ea typeface="Times New Roman"/>
                <a:cs typeface="Times New Roman"/>
                <a:sym typeface="Times New Roman"/>
              </a:rPr>
              <a:t>Transfer Agreement required with nearby hospitals, and some of those hospitals are in another state</a:t>
            </a:r>
            <a:endParaRPr sz="2200">
              <a:latin typeface="Times New Roman"/>
              <a:ea typeface="Times New Roman"/>
              <a:cs typeface="Times New Roman"/>
              <a:sym typeface="Times New Roman"/>
            </a:endParaRPr>
          </a:p>
          <a:p>
            <a:pPr marL="342900">
              <a:spcBef>
                <a:spcPts val="640"/>
              </a:spcBef>
              <a:buSzPts val="2200"/>
              <a:buFont typeface="Times New Roman"/>
              <a:buChar char="●"/>
            </a:pPr>
            <a:r>
              <a:rPr lang="en-US" sz="2200">
                <a:latin typeface="Times New Roman"/>
                <a:ea typeface="Times New Roman"/>
                <a:cs typeface="Times New Roman"/>
                <a:sym typeface="Times New Roman"/>
              </a:rPr>
              <a:t>Certificate of Need requirement restricts access of maternity services through stringent and costly regulations, and do not improve safety or birth center quality of care. </a:t>
            </a:r>
            <a:endParaRPr sz="2200">
              <a:latin typeface="Times New Roman"/>
              <a:ea typeface="Times New Roman"/>
              <a:cs typeface="Times New Roman"/>
              <a:sym typeface="Times New Roman"/>
            </a:endParaRPr>
          </a:p>
          <a:p>
            <a:pPr marL="342900">
              <a:spcBef>
                <a:spcPts val="640"/>
              </a:spcBef>
              <a:buSzPts val="2200"/>
              <a:buFont typeface="Times New Roman"/>
              <a:buChar char="●"/>
            </a:pPr>
            <a:r>
              <a:rPr lang="en-US" sz="2200">
                <a:latin typeface="Times New Roman"/>
                <a:ea typeface="Times New Roman"/>
                <a:cs typeface="Times New Roman"/>
                <a:sym typeface="Times New Roman"/>
              </a:rPr>
              <a:t>Legislative Rules may restrict access to vaginal birth after cesarean (VBAC) in Birth Centers</a:t>
            </a:r>
            <a:endParaRPr sz="2200">
              <a:latin typeface="Times New Roman"/>
              <a:ea typeface="Times New Roman"/>
              <a:cs typeface="Times New Roman"/>
              <a:sym typeface="Times New Roman"/>
            </a:endParaRPr>
          </a:p>
          <a:p>
            <a:pPr marL="342900">
              <a:spcBef>
                <a:spcPts val="640"/>
              </a:spcBef>
              <a:buSzPts val="2200"/>
              <a:buFont typeface="Times New Roman"/>
              <a:buChar char="●"/>
            </a:pPr>
            <a:r>
              <a:rPr lang="en-US" sz="2200">
                <a:latin typeface="Times New Roman"/>
                <a:ea typeface="Times New Roman"/>
                <a:cs typeface="Times New Roman"/>
                <a:sym typeface="Times New Roman"/>
              </a:rPr>
              <a:t>Reimbursement for birth and newborn services is sometimes reduced, restricted or denied</a:t>
            </a:r>
            <a:endParaRPr sz="2400">
              <a:latin typeface="Times New Roman"/>
              <a:ea typeface="Times New Roman"/>
              <a:cs typeface="Times New Roman"/>
              <a:sym typeface="Times New Roman"/>
            </a:endParaRPr>
          </a:p>
          <a:p>
            <a:pPr marL="0" indent="0">
              <a:lnSpc>
                <a:spcPct val="80000"/>
              </a:lnSpc>
              <a:spcBef>
                <a:spcPts val="560"/>
              </a:spcBef>
              <a:buSzPts val="2240"/>
              <a:buNone/>
            </a:pPr>
            <a:endParaRPr sz="2400">
              <a:latin typeface="Times New Roman"/>
              <a:ea typeface="Times New Roman"/>
              <a:cs typeface="Times New Roman"/>
              <a:sym typeface="Times New Roman"/>
            </a:endParaRPr>
          </a:p>
          <a:p>
            <a:pPr marL="0" indent="0">
              <a:lnSpc>
                <a:spcPct val="80000"/>
              </a:lnSpc>
              <a:spcBef>
                <a:spcPts val="560"/>
              </a:spcBef>
              <a:buSzPts val="2240"/>
              <a:buNone/>
            </a:pPr>
            <a:endParaRPr sz="1800">
              <a:latin typeface="Times New Roman"/>
              <a:ea typeface="Times New Roman"/>
              <a:cs typeface="Times New Roman"/>
              <a:sym typeface="Times New Roman"/>
            </a:endParaRPr>
          </a:p>
          <a:p>
            <a:pPr marL="57150" indent="-57150">
              <a:lnSpc>
                <a:spcPct val="90000"/>
              </a:lnSpc>
              <a:spcBef>
                <a:spcPts val="560"/>
              </a:spcBef>
              <a:buSzPts val="2240"/>
              <a:buNone/>
            </a:pPr>
            <a:endParaRPr sz="2400">
              <a:latin typeface="Times New Roman"/>
              <a:ea typeface="Times New Roman"/>
              <a:cs typeface="Times New Roman"/>
              <a:sym typeface="Times New Roman"/>
            </a:endParaRPr>
          </a:p>
          <a:p>
            <a:pPr marL="57150" indent="-57150">
              <a:lnSpc>
                <a:spcPct val="90000"/>
              </a:lnSpc>
              <a:spcBef>
                <a:spcPts val="560"/>
              </a:spcBef>
              <a:buSzPts val="2240"/>
              <a:buNone/>
            </a:pPr>
            <a:endParaRPr sz="2400">
              <a:latin typeface="Times New Roman"/>
              <a:ea typeface="Times New Roman"/>
              <a:cs typeface="Times New Roman"/>
              <a:sym typeface="Times New Roman"/>
            </a:endParaRPr>
          </a:p>
          <a:p>
            <a:pPr marL="57150" indent="-57150">
              <a:lnSpc>
                <a:spcPct val="90000"/>
              </a:lnSpc>
              <a:spcBef>
                <a:spcPts val="560"/>
              </a:spcBef>
              <a:buSzPts val="2240"/>
              <a:buNone/>
            </a:pPr>
            <a:endParaRPr sz="2400">
              <a:latin typeface="Times New Roman"/>
              <a:ea typeface="Times New Roman"/>
              <a:cs typeface="Times New Roman"/>
              <a:sym typeface="Times New Roman"/>
            </a:endParaRPr>
          </a:p>
          <a:p>
            <a:pPr marL="342900" indent="-342900">
              <a:lnSpc>
                <a:spcPct val="90000"/>
              </a:lnSpc>
              <a:spcBef>
                <a:spcPts val="560"/>
              </a:spcBef>
              <a:buSzPts val="2240"/>
              <a:buNone/>
            </a:pPr>
            <a:endParaRPr sz="2400">
              <a:latin typeface="Times New Roman"/>
              <a:ea typeface="Times New Roman"/>
              <a:cs typeface="Times New Roman"/>
              <a:sym typeface="Times New Roman"/>
            </a:endParaRPr>
          </a:p>
          <a:p>
            <a:pPr marL="342900" indent="-342900">
              <a:lnSpc>
                <a:spcPct val="90000"/>
              </a:lnSpc>
              <a:spcBef>
                <a:spcPts val="560"/>
              </a:spcBef>
              <a:buSzPts val="2240"/>
              <a:buNone/>
            </a:pPr>
            <a:endParaRPr sz="2400">
              <a:latin typeface="Times New Roman"/>
              <a:ea typeface="Times New Roman"/>
              <a:cs typeface="Times New Roman"/>
              <a:sym typeface="Times New Roman"/>
            </a:endParaRPr>
          </a:p>
          <a:p>
            <a:pPr marL="0" indent="0">
              <a:lnSpc>
                <a:spcPct val="80000"/>
              </a:lnSpc>
              <a:spcBef>
                <a:spcPts val="400"/>
              </a:spcBef>
              <a:buSzPts val="1600"/>
              <a:buNone/>
            </a:pP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Google Shape;267;p17"/>
          <p:cNvSpPr txBox="1">
            <a:spLocks noGrp="1"/>
          </p:cNvSpPr>
          <p:nvPr>
            <p:ph type="title"/>
          </p:nvPr>
        </p:nvSpPr>
        <p:spPr>
          <a:xfrm>
            <a:off x="1778001" y="609600"/>
            <a:ext cx="8480777"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3400" dirty="0">
                <a:solidFill>
                  <a:schemeClr val="lt1"/>
                </a:solidFill>
                <a:latin typeface="Oswald"/>
                <a:ea typeface="Oswald"/>
                <a:cs typeface="Oswald"/>
                <a:sym typeface="Oswald"/>
              </a:rPr>
              <a:t>THE ILLINOIS EXPERIENCE: BARRIERS</a:t>
            </a:r>
            <a:endParaRPr sz="3400" dirty="0"/>
          </a:p>
        </p:txBody>
      </p:sp>
      <p:sp>
        <p:nvSpPr>
          <p:cNvPr id="268" name="Google Shape;268;p17"/>
          <p:cNvSpPr txBox="1">
            <a:spLocks noGrp="1"/>
          </p:cNvSpPr>
          <p:nvPr>
            <p:ph type="body" idx="1"/>
          </p:nvPr>
        </p:nvSpPr>
        <p:spPr>
          <a:xfrm>
            <a:off x="2209800" y="2488300"/>
            <a:ext cx="7772400" cy="3600900"/>
          </a:xfrm>
          <a:prstGeom prst="rect">
            <a:avLst/>
          </a:prstGeom>
          <a:noFill/>
          <a:ln>
            <a:noFill/>
          </a:ln>
        </p:spPr>
        <p:txBody>
          <a:bodyPr spcFirstLastPara="1" wrap="square" lIns="92075" tIns="46025" rIns="92075" bIns="46025" anchor="t" anchorCtr="0">
            <a:noAutofit/>
          </a:bodyPr>
          <a:lstStyle/>
          <a:p>
            <a:pPr marL="342900" indent="-342900" algn="ctr">
              <a:spcBef>
                <a:spcPts val="0"/>
              </a:spcBef>
              <a:buSzPts val="2240"/>
              <a:buNone/>
            </a:pPr>
            <a:r>
              <a:rPr lang="en-US" sz="2800" i="1">
                <a:solidFill>
                  <a:srgbClr val="FFFF66"/>
                </a:solidFill>
                <a:latin typeface="Times New Roman"/>
                <a:ea typeface="Times New Roman"/>
                <a:cs typeface="Times New Roman"/>
                <a:sym typeface="Times New Roman"/>
              </a:rPr>
              <a:t>Never give in!  Never give in!  </a:t>
            </a:r>
            <a:endParaRPr/>
          </a:p>
          <a:p>
            <a:pPr marL="342900" indent="-342900" algn="ctr">
              <a:spcBef>
                <a:spcPts val="560"/>
              </a:spcBef>
              <a:buSzPts val="2240"/>
              <a:buNone/>
            </a:pPr>
            <a:r>
              <a:rPr lang="en-US" sz="2800" i="1">
                <a:solidFill>
                  <a:srgbClr val="FFFF66"/>
                </a:solidFill>
                <a:latin typeface="Times New Roman"/>
                <a:ea typeface="Times New Roman"/>
                <a:cs typeface="Times New Roman"/>
                <a:sym typeface="Times New Roman"/>
              </a:rPr>
              <a:t>Never, never, never, never-- </a:t>
            </a:r>
            <a:endParaRPr/>
          </a:p>
          <a:p>
            <a:pPr marL="342900" indent="-342900" algn="ctr">
              <a:spcBef>
                <a:spcPts val="560"/>
              </a:spcBef>
              <a:buSzPts val="2240"/>
              <a:buNone/>
            </a:pPr>
            <a:r>
              <a:rPr lang="en-US" sz="2800" i="1">
                <a:solidFill>
                  <a:srgbClr val="FFFF66"/>
                </a:solidFill>
                <a:latin typeface="Times New Roman"/>
                <a:ea typeface="Times New Roman"/>
                <a:cs typeface="Times New Roman"/>
                <a:sym typeface="Times New Roman"/>
              </a:rPr>
              <a:t>in nothing, great or small, large or petty-- </a:t>
            </a:r>
            <a:endParaRPr sz="2800" i="1">
              <a:solidFill>
                <a:srgbClr val="FFFF66"/>
              </a:solidFill>
              <a:latin typeface="Times New Roman"/>
              <a:ea typeface="Times New Roman"/>
              <a:cs typeface="Times New Roman"/>
              <a:sym typeface="Times New Roman"/>
            </a:endParaRPr>
          </a:p>
          <a:p>
            <a:pPr marL="342900" indent="-342900" algn="ctr">
              <a:spcBef>
                <a:spcPts val="560"/>
              </a:spcBef>
              <a:buSzPts val="2240"/>
              <a:buNone/>
            </a:pPr>
            <a:r>
              <a:rPr lang="en-US" sz="2800" i="1">
                <a:solidFill>
                  <a:srgbClr val="FFFF66"/>
                </a:solidFill>
                <a:latin typeface="Times New Roman"/>
                <a:ea typeface="Times New Roman"/>
                <a:cs typeface="Times New Roman"/>
                <a:sym typeface="Times New Roman"/>
              </a:rPr>
              <a:t>never give in, except to convictions </a:t>
            </a:r>
            <a:endParaRPr/>
          </a:p>
          <a:p>
            <a:pPr marL="342900" indent="-342900" algn="ctr">
              <a:spcBef>
                <a:spcPts val="560"/>
              </a:spcBef>
              <a:buSzPts val="2240"/>
              <a:buNone/>
            </a:pPr>
            <a:r>
              <a:rPr lang="en-US" sz="2800" i="1">
                <a:solidFill>
                  <a:srgbClr val="FFFF66"/>
                </a:solidFill>
                <a:latin typeface="Times New Roman"/>
                <a:ea typeface="Times New Roman"/>
                <a:cs typeface="Times New Roman"/>
                <a:sym typeface="Times New Roman"/>
              </a:rPr>
              <a:t>of honor and good sense.</a:t>
            </a:r>
            <a:endParaRPr/>
          </a:p>
          <a:p>
            <a:pPr marL="342900" indent="-342900" algn="ctr">
              <a:spcBef>
                <a:spcPts val="480"/>
              </a:spcBef>
              <a:buSzPts val="1920"/>
              <a:buNone/>
            </a:pPr>
            <a:r>
              <a:rPr lang="en-US" sz="2400" b="0" i="1">
                <a:latin typeface="Times New Roman"/>
                <a:ea typeface="Times New Roman"/>
                <a:cs typeface="Times New Roman"/>
                <a:sym typeface="Times New Roman"/>
              </a:rPr>
              <a:t>                                                          </a:t>
            </a:r>
            <a:r>
              <a:rPr lang="en-US" sz="2000" b="0" i="1">
                <a:latin typeface="Times New Roman"/>
                <a:ea typeface="Times New Roman"/>
                <a:cs typeface="Times New Roman"/>
                <a:sym typeface="Times New Roman"/>
              </a:rPr>
              <a:t>-Winston Churchill</a:t>
            </a:r>
            <a:endParaRPr/>
          </a:p>
          <a:p>
            <a:pPr marL="342900" indent="-342900" algn="ctr">
              <a:spcBef>
                <a:spcPts val="400"/>
              </a:spcBef>
              <a:buSzPts val="1600"/>
              <a:buNone/>
            </a:pPr>
            <a:endParaRPr sz="2000" b="0" i="1">
              <a:latin typeface="Times New Roman"/>
              <a:ea typeface="Times New Roman"/>
              <a:cs typeface="Times New Roman"/>
              <a:sym typeface="Times New Roman"/>
            </a:endParaRPr>
          </a:p>
          <a:p>
            <a:pPr marL="342900" indent="-342900" algn="ctr">
              <a:spcBef>
                <a:spcPts val="480"/>
              </a:spcBef>
              <a:buSzPts val="1920"/>
              <a:buNone/>
            </a:pP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pic>
        <p:nvPicPr>
          <p:cNvPr id="273" name="Google Shape;273;p20"/>
          <p:cNvPicPr preferRelativeResize="0"/>
          <p:nvPr/>
        </p:nvPicPr>
        <p:blipFill rotWithShape="1">
          <a:blip r:embed="rId3">
            <a:alphaModFix/>
          </a:blip>
          <a:srcRect l="5714" r="7141" b="3177"/>
          <a:stretch/>
        </p:blipFill>
        <p:spPr>
          <a:xfrm>
            <a:off x="3708851" y="2053275"/>
            <a:ext cx="4855225" cy="4480700"/>
          </a:xfrm>
          <a:prstGeom prst="rect">
            <a:avLst/>
          </a:prstGeom>
          <a:noFill/>
          <a:ln>
            <a:noFill/>
          </a:ln>
        </p:spPr>
      </p:pic>
      <p:sp>
        <p:nvSpPr>
          <p:cNvPr id="274" name="Google Shape;274;p20"/>
          <p:cNvSpPr txBox="1"/>
          <p:nvPr/>
        </p:nvSpPr>
        <p:spPr>
          <a:xfrm>
            <a:off x="2333250" y="829450"/>
            <a:ext cx="8031300" cy="861900"/>
          </a:xfrm>
          <a:prstGeom prst="rect">
            <a:avLst/>
          </a:prstGeom>
          <a:noFill/>
          <a:ln>
            <a:noFill/>
          </a:ln>
        </p:spPr>
        <p:txBody>
          <a:bodyPr spcFirstLastPara="1" wrap="square" lIns="91425" tIns="91425" rIns="91425" bIns="91425" anchor="t" anchorCtr="0">
            <a:spAutoFit/>
          </a:bodyPr>
          <a:lstStyle/>
          <a:p>
            <a:pPr>
              <a:buClr>
                <a:srgbClr val="CBCBCB"/>
              </a:buClr>
              <a:buSzPts val="4400"/>
            </a:pPr>
            <a:r>
              <a:rPr lang="en-US" sz="4400" kern="0">
                <a:solidFill>
                  <a:srgbClr val="FFFFFF"/>
                </a:solidFill>
                <a:latin typeface="Oswald"/>
                <a:ea typeface="Oswald"/>
                <a:cs typeface="Oswald"/>
                <a:sym typeface="Oswald"/>
              </a:rPr>
              <a:t>THE ILLINOIS EXPERIENCE</a:t>
            </a:r>
            <a:endParaRPr sz="3200" kern="0">
              <a:solidFill>
                <a:srgbClr val="FFFFFF"/>
              </a:solidFill>
              <a:latin typeface="Arial"/>
              <a:cs typeface="Arial"/>
              <a:sym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5624407" cy="4851400"/>
            <a:chOff x="0" y="0"/>
            <a:chExt cx="8436610" cy="7277100"/>
          </a:xfrm>
        </p:grpSpPr>
        <p:pic>
          <p:nvPicPr>
            <p:cNvPr id="3" name="object 3"/>
            <p:cNvPicPr/>
            <p:nvPr/>
          </p:nvPicPr>
          <p:blipFill>
            <a:blip r:embed="rId2" cstate="print"/>
            <a:stretch>
              <a:fillRect/>
            </a:stretch>
          </p:blipFill>
          <p:spPr>
            <a:xfrm>
              <a:off x="0" y="0"/>
              <a:ext cx="8436522" cy="7277099"/>
            </a:xfrm>
            <a:prstGeom prst="rect">
              <a:avLst/>
            </a:prstGeom>
          </p:spPr>
        </p:pic>
        <p:sp>
          <p:nvSpPr>
            <p:cNvPr id="4" name="object 4"/>
            <p:cNvSpPr/>
            <p:nvPr/>
          </p:nvSpPr>
          <p:spPr>
            <a:xfrm>
              <a:off x="5788497" y="3944895"/>
              <a:ext cx="2353310" cy="2353310"/>
            </a:xfrm>
            <a:custGeom>
              <a:avLst/>
              <a:gdLst/>
              <a:ahLst/>
              <a:cxnLst/>
              <a:rect l="l" t="t" r="r" b="b"/>
              <a:pathLst>
                <a:path w="2353309" h="2353310">
                  <a:moveTo>
                    <a:pt x="1176517" y="2353034"/>
                  </a:moveTo>
                  <a:lnTo>
                    <a:pt x="1128021" y="2352052"/>
                  </a:lnTo>
                  <a:lnTo>
                    <a:pt x="1080024" y="2349134"/>
                  </a:lnTo>
                  <a:lnTo>
                    <a:pt x="1032565" y="2344315"/>
                  </a:lnTo>
                  <a:lnTo>
                    <a:pt x="985680" y="2337635"/>
                  </a:lnTo>
                  <a:lnTo>
                    <a:pt x="939408" y="2329131"/>
                  </a:lnTo>
                  <a:lnTo>
                    <a:pt x="893786" y="2318841"/>
                  </a:lnTo>
                  <a:lnTo>
                    <a:pt x="848853" y="2306803"/>
                  </a:lnTo>
                  <a:lnTo>
                    <a:pt x="804646" y="2293054"/>
                  </a:lnTo>
                  <a:lnTo>
                    <a:pt x="761204" y="2277633"/>
                  </a:lnTo>
                  <a:lnTo>
                    <a:pt x="718563" y="2260577"/>
                  </a:lnTo>
                  <a:lnTo>
                    <a:pt x="676762" y="2241925"/>
                  </a:lnTo>
                  <a:lnTo>
                    <a:pt x="635839" y="2221713"/>
                  </a:lnTo>
                  <a:lnTo>
                    <a:pt x="595832" y="2199980"/>
                  </a:lnTo>
                  <a:lnTo>
                    <a:pt x="556778" y="2176765"/>
                  </a:lnTo>
                  <a:lnTo>
                    <a:pt x="518715" y="2152103"/>
                  </a:lnTo>
                  <a:lnTo>
                    <a:pt x="481681" y="2126034"/>
                  </a:lnTo>
                  <a:lnTo>
                    <a:pt x="445714" y="2098596"/>
                  </a:lnTo>
                  <a:lnTo>
                    <a:pt x="410852" y="2069825"/>
                  </a:lnTo>
                  <a:lnTo>
                    <a:pt x="377132" y="2039761"/>
                  </a:lnTo>
                  <a:lnTo>
                    <a:pt x="344593" y="2008440"/>
                  </a:lnTo>
                  <a:lnTo>
                    <a:pt x="313273" y="1975901"/>
                  </a:lnTo>
                  <a:lnTo>
                    <a:pt x="283208" y="1942181"/>
                  </a:lnTo>
                  <a:lnTo>
                    <a:pt x="254438" y="1907319"/>
                  </a:lnTo>
                  <a:lnTo>
                    <a:pt x="226999" y="1871352"/>
                  </a:lnTo>
                  <a:lnTo>
                    <a:pt x="200930" y="1834319"/>
                  </a:lnTo>
                  <a:lnTo>
                    <a:pt x="176269" y="1796256"/>
                  </a:lnTo>
                  <a:lnTo>
                    <a:pt x="153053" y="1757202"/>
                  </a:lnTo>
                  <a:lnTo>
                    <a:pt x="131320" y="1717194"/>
                  </a:lnTo>
                  <a:lnTo>
                    <a:pt x="111109" y="1676271"/>
                  </a:lnTo>
                  <a:lnTo>
                    <a:pt x="92456" y="1634470"/>
                  </a:lnTo>
                  <a:lnTo>
                    <a:pt x="75400" y="1591830"/>
                  </a:lnTo>
                  <a:lnTo>
                    <a:pt x="59979" y="1548387"/>
                  </a:lnTo>
                  <a:lnTo>
                    <a:pt x="46230" y="1504180"/>
                  </a:lnTo>
                  <a:lnTo>
                    <a:pt x="34192" y="1459247"/>
                  </a:lnTo>
                  <a:lnTo>
                    <a:pt x="23902" y="1413626"/>
                  </a:lnTo>
                  <a:lnTo>
                    <a:pt x="15398" y="1367354"/>
                  </a:lnTo>
                  <a:lnTo>
                    <a:pt x="8718" y="1320469"/>
                  </a:lnTo>
                  <a:lnTo>
                    <a:pt x="3900" y="1273009"/>
                  </a:lnTo>
                  <a:lnTo>
                    <a:pt x="981" y="1225013"/>
                  </a:lnTo>
                  <a:lnTo>
                    <a:pt x="0" y="1176517"/>
                  </a:lnTo>
                  <a:lnTo>
                    <a:pt x="981" y="1128021"/>
                  </a:lnTo>
                  <a:lnTo>
                    <a:pt x="3900" y="1080024"/>
                  </a:lnTo>
                  <a:lnTo>
                    <a:pt x="8718" y="1032564"/>
                  </a:lnTo>
                  <a:lnTo>
                    <a:pt x="15398" y="985679"/>
                  </a:lnTo>
                  <a:lnTo>
                    <a:pt x="23902" y="939407"/>
                  </a:lnTo>
                  <a:lnTo>
                    <a:pt x="34192" y="893786"/>
                  </a:lnTo>
                  <a:lnTo>
                    <a:pt x="46230" y="848853"/>
                  </a:lnTo>
                  <a:lnTo>
                    <a:pt x="59979" y="804646"/>
                  </a:lnTo>
                  <a:lnTo>
                    <a:pt x="75400" y="761204"/>
                  </a:lnTo>
                  <a:lnTo>
                    <a:pt x="92456" y="718563"/>
                  </a:lnTo>
                  <a:lnTo>
                    <a:pt x="111109" y="676762"/>
                  </a:lnTo>
                  <a:lnTo>
                    <a:pt x="131320" y="635839"/>
                  </a:lnTo>
                  <a:lnTo>
                    <a:pt x="153053" y="595832"/>
                  </a:lnTo>
                  <a:lnTo>
                    <a:pt x="176269" y="556778"/>
                  </a:lnTo>
                  <a:lnTo>
                    <a:pt x="200930" y="518715"/>
                  </a:lnTo>
                  <a:lnTo>
                    <a:pt x="226999" y="481681"/>
                  </a:lnTo>
                  <a:lnTo>
                    <a:pt x="254438" y="445714"/>
                  </a:lnTo>
                  <a:lnTo>
                    <a:pt x="283208" y="410852"/>
                  </a:lnTo>
                  <a:lnTo>
                    <a:pt x="313273" y="377132"/>
                  </a:lnTo>
                  <a:lnTo>
                    <a:pt x="344593" y="344593"/>
                  </a:lnTo>
                  <a:lnTo>
                    <a:pt x="377132" y="313273"/>
                  </a:lnTo>
                  <a:lnTo>
                    <a:pt x="410852" y="283208"/>
                  </a:lnTo>
                  <a:lnTo>
                    <a:pt x="445714" y="254438"/>
                  </a:lnTo>
                  <a:lnTo>
                    <a:pt x="481681" y="226999"/>
                  </a:lnTo>
                  <a:lnTo>
                    <a:pt x="518715" y="200930"/>
                  </a:lnTo>
                  <a:lnTo>
                    <a:pt x="556778" y="176269"/>
                  </a:lnTo>
                  <a:lnTo>
                    <a:pt x="595832" y="153053"/>
                  </a:lnTo>
                  <a:lnTo>
                    <a:pt x="635839" y="131320"/>
                  </a:lnTo>
                  <a:lnTo>
                    <a:pt x="676762" y="111109"/>
                  </a:lnTo>
                  <a:lnTo>
                    <a:pt x="718563" y="92456"/>
                  </a:lnTo>
                  <a:lnTo>
                    <a:pt x="761204" y="75400"/>
                  </a:lnTo>
                  <a:lnTo>
                    <a:pt x="804646" y="59979"/>
                  </a:lnTo>
                  <a:lnTo>
                    <a:pt x="848853" y="46231"/>
                  </a:lnTo>
                  <a:lnTo>
                    <a:pt x="893786" y="34192"/>
                  </a:lnTo>
                  <a:lnTo>
                    <a:pt x="939408" y="23902"/>
                  </a:lnTo>
                  <a:lnTo>
                    <a:pt x="985680" y="15398"/>
                  </a:lnTo>
                  <a:lnTo>
                    <a:pt x="1032565" y="8718"/>
                  </a:lnTo>
                  <a:lnTo>
                    <a:pt x="1080024" y="3900"/>
                  </a:lnTo>
                  <a:lnTo>
                    <a:pt x="1128021" y="981"/>
                  </a:lnTo>
                  <a:lnTo>
                    <a:pt x="1176517" y="0"/>
                  </a:lnTo>
                  <a:lnTo>
                    <a:pt x="1225013" y="981"/>
                  </a:lnTo>
                  <a:lnTo>
                    <a:pt x="1273010" y="3900"/>
                  </a:lnTo>
                  <a:lnTo>
                    <a:pt x="1320469" y="8718"/>
                  </a:lnTo>
                  <a:lnTo>
                    <a:pt x="1367354" y="15398"/>
                  </a:lnTo>
                  <a:lnTo>
                    <a:pt x="1413626" y="23902"/>
                  </a:lnTo>
                  <a:lnTo>
                    <a:pt x="1459248" y="34192"/>
                  </a:lnTo>
                  <a:lnTo>
                    <a:pt x="1504181" y="46231"/>
                  </a:lnTo>
                  <a:lnTo>
                    <a:pt x="1548387" y="59979"/>
                  </a:lnTo>
                  <a:lnTo>
                    <a:pt x="1591830" y="75400"/>
                  </a:lnTo>
                  <a:lnTo>
                    <a:pt x="1634470" y="92456"/>
                  </a:lnTo>
                  <a:lnTo>
                    <a:pt x="1676271" y="111109"/>
                  </a:lnTo>
                  <a:lnTo>
                    <a:pt x="1717194" y="131320"/>
                  </a:lnTo>
                  <a:lnTo>
                    <a:pt x="1757202" y="153053"/>
                  </a:lnTo>
                  <a:lnTo>
                    <a:pt x="1796256" y="176269"/>
                  </a:lnTo>
                  <a:lnTo>
                    <a:pt x="1834319" y="200930"/>
                  </a:lnTo>
                  <a:lnTo>
                    <a:pt x="1871353" y="226999"/>
                  </a:lnTo>
                  <a:lnTo>
                    <a:pt x="1907319" y="254438"/>
                  </a:lnTo>
                  <a:lnTo>
                    <a:pt x="1942182" y="283208"/>
                  </a:lnTo>
                  <a:lnTo>
                    <a:pt x="1975901" y="313273"/>
                  </a:lnTo>
                  <a:lnTo>
                    <a:pt x="2008440" y="344593"/>
                  </a:lnTo>
                  <a:lnTo>
                    <a:pt x="2039761" y="377132"/>
                  </a:lnTo>
                  <a:lnTo>
                    <a:pt x="2069825" y="410852"/>
                  </a:lnTo>
                  <a:lnTo>
                    <a:pt x="2098596" y="445714"/>
                  </a:lnTo>
                  <a:lnTo>
                    <a:pt x="2126034" y="481681"/>
                  </a:lnTo>
                  <a:lnTo>
                    <a:pt x="2152103" y="518715"/>
                  </a:lnTo>
                  <a:lnTo>
                    <a:pt x="2176765" y="556778"/>
                  </a:lnTo>
                  <a:lnTo>
                    <a:pt x="2199980" y="595832"/>
                  </a:lnTo>
                  <a:lnTo>
                    <a:pt x="2221713" y="635839"/>
                  </a:lnTo>
                  <a:lnTo>
                    <a:pt x="2241925" y="676762"/>
                  </a:lnTo>
                  <a:lnTo>
                    <a:pt x="2260577" y="718563"/>
                  </a:lnTo>
                  <a:lnTo>
                    <a:pt x="2277633" y="761204"/>
                  </a:lnTo>
                  <a:lnTo>
                    <a:pt x="2293054" y="804646"/>
                  </a:lnTo>
                  <a:lnTo>
                    <a:pt x="2306803" y="848853"/>
                  </a:lnTo>
                  <a:lnTo>
                    <a:pt x="2318841" y="893786"/>
                  </a:lnTo>
                  <a:lnTo>
                    <a:pt x="2329131" y="939407"/>
                  </a:lnTo>
                  <a:lnTo>
                    <a:pt x="2337635" y="985679"/>
                  </a:lnTo>
                  <a:lnTo>
                    <a:pt x="2344315" y="1032564"/>
                  </a:lnTo>
                  <a:lnTo>
                    <a:pt x="2349134" y="1080024"/>
                  </a:lnTo>
                  <a:lnTo>
                    <a:pt x="2352052" y="1128021"/>
                  </a:lnTo>
                  <a:lnTo>
                    <a:pt x="2353034" y="1176517"/>
                  </a:lnTo>
                  <a:lnTo>
                    <a:pt x="2352052" y="1225013"/>
                  </a:lnTo>
                  <a:lnTo>
                    <a:pt x="2349134" y="1273009"/>
                  </a:lnTo>
                  <a:lnTo>
                    <a:pt x="2344315" y="1320469"/>
                  </a:lnTo>
                  <a:lnTo>
                    <a:pt x="2337635" y="1367354"/>
                  </a:lnTo>
                  <a:lnTo>
                    <a:pt x="2329131" y="1413626"/>
                  </a:lnTo>
                  <a:lnTo>
                    <a:pt x="2318841" y="1459247"/>
                  </a:lnTo>
                  <a:lnTo>
                    <a:pt x="2306803" y="1504180"/>
                  </a:lnTo>
                  <a:lnTo>
                    <a:pt x="2293054" y="1548387"/>
                  </a:lnTo>
                  <a:lnTo>
                    <a:pt x="2277633" y="1591830"/>
                  </a:lnTo>
                  <a:lnTo>
                    <a:pt x="2260577" y="1634470"/>
                  </a:lnTo>
                  <a:lnTo>
                    <a:pt x="2241925" y="1676271"/>
                  </a:lnTo>
                  <a:lnTo>
                    <a:pt x="2221713" y="1717194"/>
                  </a:lnTo>
                  <a:lnTo>
                    <a:pt x="2199980" y="1757202"/>
                  </a:lnTo>
                  <a:lnTo>
                    <a:pt x="2176765" y="1796256"/>
                  </a:lnTo>
                  <a:lnTo>
                    <a:pt x="2152103" y="1834319"/>
                  </a:lnTo>
                  <a:lnTo>
                    <a:pt x="2126034" y="1871352"/>
                  </a:lnTo>
                  <a:lnTo>
                    <a:pt x="2098596" y="1907319"/>
                  </a:lnTo>
                  <a:lnTo>
                    <a:pt x="2069825" y="1942181"/>
                  </a:lnTo>
                  <a:lnTo>
                    <a:pt x="2039761" y="1975901"/>
                  </a:lnTo>
                  <a:lnTo>
                    <a:pt x="2008440" y="2008440"/>
                  </a:lnTo>
                  <a:lnTo>
                    <a:pt x="1975901" y="2039761"/>
                  </a:lnTo>
                  <a:lnTo>
                    <a:pt x="1942182" y="2069825"/>
                  </a:lnTo>
                  <a:lnTo>
                    <a:pt x="1907319" y="2098596"/>
                  </a:lnTo>
                  <a:lnTo>
                    <a:pt x="1871353" y="2126034"/>
                  </a:lnTo>
                  <a:lnTo>
                    <a:pt x="1834319" y="2152103"/>
                  </a:lnTo>
                  <a:lnTo>
                    <a:pt x="1796256" y="2176765"/>
                  </a:lnTo>
                  <a:lnTo>
                    <a:pt x="1757202" y="2199980"/>
                  </a:lnTo>
                  <a:lnTo>
                    <a:pt x="1717194" y="2221713"/>
                  </a:lnTo>
                  <a:lnTo>
                    <a:pt x="1676271" y="2241925"/>
                  </a:lnTo>
                  <a:lnTo>
                    <a:pt x="1634470" y="2260577"/>
                  </a:lnTo>
                  <a:lnTo>
                    <a:pt x="1591830" y="2277633"/>
                  </a:lnTo>
                  <a:lnTo>
                    <a:pt x="1548387" y="2293054"/>
                  </a:lnTo>
                  <a:lnTo>
                    <a:pt x="1504181" y="2306803"/>
                  </a:lnTo>
                  <a:lnTo>
                    <a:pt x="1459248" y="2318841"/>
                  </a:lnTo>
                  <a:lnTo>
                    <a:pt x="1413626" y="2329131"/>
                  </a:lnTo>
                  <a:lnTo>
                    <a:pt x="1367354" y="2337635"/>
                  </a:lnTo>
                  <a:lnTo>
                    <a:pt x="1320469" y="2344315"/>
                  </a:lnTo>
                  <a:lnTo>
                    <a:pt x="1273010" y="2349134"/>
                  </a:lnTo>
                  <a:lnTo>
                    <a:pt x="1225013" y="2352052"/>
                  </a:lnTo>
                  <a:lnTo>
                    <a:pt x="1176517" y="2353034"/>
                  </a:lnTo>
                  <a:close/>
                </a:path>
              </a:pathLst>
            </a:custGeom>
            <a:solidFill>
              <a:srgbClr val="CCD0A7"/>
            </a:solidFill>
          </p:spPr>
          <p:txBody>
            <a:bodyPr wrap="square" lIns="0" tIns="0" rIns="0" bIns="0" rtlCol="0"/>
            <a:lstStyle/>
            <a:p>
              <a:pPr defTabSz="609630"/>
              <a:endParaRPr sz="1200" kern="0">
                <a:solidFill>
                  <a:sysClr val="windowText" lastClr="000000"/>
                </a:solidFill>
              </a:endParaRPr>
            </a:p>
          </p:txBody>
        </p:sp>
      </p:grpSp>
      <p:sp>
        <p:nvSpPr>
          <p:cNvPr id="5" name="object 5"/>
          <p:cNvSpPr txBox="1">
            <a:spLocks noGrp="1"/>
          </p:cNvSpPr>
          <p:nvPr>
            <p:ph type="title"/>
          </p:nvPr>
        </p:nvSpPr>
        <p:spPr>
          <a:xfrm>
            <a:off x="5653848" y="1043230"/>
            <a:ext cx="6181090" cy="1786814"/>
          </a:xfrm>
          <a:prstGeom prst="rect">
            <a:avLst/>
          </a:prstGeom>
        </p:spPr>
        <p:txBody>
          <a:bodyPr vert="horz" wrap="square" lIns="0" tIns="93133" rIns="0" bIns="0" rtlCol="0">
            <a:spAutoFit/>
          </a:bodyPr>
          <a:lstStyle/>
          <a:p>
            <a:pPr marL="8467" marR="3387" indent="544857">
              <a:lnSpc>
                <a:spcPts val="6600"/>
              </a:lnSpc>
              <a:spcBef>
                <a:spcPts val="733"/>
              </a:spcBef>
            </a:pPr>
            <a:r>
              <a:rPr spc="57" dirty="0">
                <a:solidFill>
                  <a:srgbClr val="33251B"/>
                </a:solidFill>
              </a:rPr>
              <a:t>Chicago</a:t>
            </a:r>
            <a:r>
              <a:rPr spc="-413" dirty="0">
                <a:solidFill>
                  <a:srgbClr val="33251B"/>
                </a:solidFill>
              </a:rPr>
              <a:t> </a:t>
            </a:r>
            <a:r>
              <a:rPr spc="187" dirty="0">
                <a:solidFill>
                  <a:srgbClr val="33251B"/>
                </a:solidFill>
              </a:rPr>
              <a:t>South </a:t>
            </a:r>
            <a:r>
              <a:rPr spc="157" dirty="0">
                <a:solidFill>
                  <a:srgbClr val="33251B"/>
                </a:solidFill>
              </a:rPr>
              <a:t>Side</a:t>
            </a:r>
            <a:r>
              <a:rPr spc="-413" dirty="0">
                <a:solidFill>
                  <a:srgbClr val="33251B"/>
                </a:solidFill>
              </a:rPr>
              <a:t> </a:t>
            </a:r>
            <a:r>
              <a:rPr spc="310" dirty="0">
                <a:solidFill>
                  <a:srgbClr val="33251B"/>
                </a:solidFill>
              </a:rPr>
              <a:t>Birth</a:t>
            </a:r>
            <a:r>
              <a:rPr spc="-413" dirty="0">
                <a:solidFill>
                  <a:srgbClr val="33251B"/>
                </a:solidFill>
              </a:rPr>
              <a:t> </a:t>
            </a:r>
            <a:r>
              <a:rPr spc="230" dirty="0">
                <a:solidFill>
                  <a:srgbClr val="33251B"/>
                </a:solidFill>
              </a:rPr>
              <a:t>Center</a:t>
            </a:r>
          </a:p>
        </p:txBody>
      </p:sp>
      <p:sp>
        <p:nvSpPr>
          <p:cNvPr id="6" name="object 6"/>
          <p:cNvSpPr txBox="1"/>
          <p:nvPr/>
        </p:nvSpPr>
        <p:spPr>
          <a:xfrm>
            <a:off x="6359219" y="3339913"/>
            <a:ext cx="4770120" cy="2267907"/>
          </a:xfrm>
          <a:prstGeom prst="rect">
            <a:avLst/>
          </a:prstGeom>
        </p:spPr>
        <p:txBody>
          <a:bodyPr vert="horz" wrap="square" lIns="0" tIns="8043" rIns="0" bIns="0" rtlCol="0">
            <a:spAutoFit/>
          </a:bodyPr>
          <a:lstStyle/>
          <a:p>
            <a:pPr marL="220144" marR="215064" algn="ctr" defTabSz="609630">
              <a:lnSpc>
                <a:spcPct val="116599"/>
              </a:lnSpc>
              <a:spcBef>
                <a:spcPts val="63"/>
              </a:spcBef>
            </a:pPr>
            <a:r>
              <a:rPr sz="2133" kern="0" spc="83" dirty="0">
                <a:solidFill>
                  <a:srgbClr val="575757"/>
                </a:solidFill>
                <a:latin typeface="Tahoma"/>
                <a:cs typeface="Tahoma"/>
              </a:rPr>
              <a:t>An</a:t>
            </a:r>
            <a:r>
              <a:rPr sz="2133" kern="0" spc="-47" dirty="0">
                <a:solidFill>
                  <a:srgbClr val="575757"/>
                </a:solidFill>
                <a:latin typeface="Tahoma"/>
                <a:cs typeface="Tahoma"/>
              </a:rPr>
              <a:t> </a:t>
            </a:r>
            <a:r>
              <a:rPr sz="2133" kern="0" dirty="0">
                <a:solidFill>
                  <a:srgbClr val="575757"/>
                </a:solidFill>
                <a:latin typeface="Tahoma"/>
                <a:cs typeface="Tahoma"/>
              </a:rPr>
              <a:t>Community</a:t>
            </a:r>
            <a:r>
              <a:rPr sz="2133" kern="0" spc="-43" dirty="0">
                <a:solidFill>
                  <a:srgbClr val="575757"/>
                </a:solidFill>
                <a:latin typeface="Tahoma"/>
                <a:cs typeface="Tahoma"/>
              </a:rPr>
              <a:t> </a:t>
            </a:r>
            <a:r>
              <a:rPr sz="2133" kern="0" spc="30" dirty="0">
                <a:solidFill>
                  <a:srgbClr val="575757"/>
                </a:solidFill>
                <a:latin typeface="Tahoma"/>
                <a:cs typeface="Tahoma"/>
              </a:rPr>
              <a:t>Centered</a:t>
            </a:r>
            <a:r>
              <a:rPr sz="2133" kern="0" spc="-43" dirty="0">
                <a:solidFill>
                  <a:srgbClr val="575757"/>
                </a:solidFill>
                <a:latin typeface="Tahoma"/>
                <a:cs typeface="Tahoma"/>
              </a:rPr>
              <a:t> </a:t>
            </a:r>
            <a:r>
              <a:rPr sz="2133" kern="0" spc="60" dirty="0">
                <a:solidFill>
                  <a:srgbClr val="575757"/>
                </a:solidFill>
                <a:latin typeface="Tahoma"/>
                <a:cs typeface="Tahoma"/>
              </a:rPr>
              <a:t>Option</a:t>
            </a:r>
            <a:r>
              <a:rPr sz="2133" kern="0" spc="-43" dirty="0">
                <a:solidFill>
                  <a:srgbClr val="575757"/>
                </a:solidFill>
                <a:latin typeface="Tahoma"/>
                <a:cs typeface="Tahoma"/>
              </a:rPr>
              <a:t> </a:t>
            </a:r>
            <a:r>
              <a:rPr sz="2133" kern="0" spc="30" dirty="0">
                <a:solidFill>
                  <a:srgbClr val="575757"/>
                </a:solidFill>
                <a:latin typeface="Tahoma"/>
                <a:cs typeface="Tahoma"/>
              </a:rPr>
              <a:t>for </a:t>
            </a:r>
            <a:r>
              <a:rPr sz="2133" kern="0" spc="-17" dirty="0">
                <a:solidFill>
                  <a:srgbClr val="575757"/>
                </a:solidFill>
                <a:latin typeface="Tahoma"/>
                <a:cs typeface="Tahoma"/>
              </a:rPr>
              <a:t>Improving</a:t>
            </a:r>
            <a:r>
              <a:rPr sz="2133" kern="0" spc="-117" dirty="0">
                <a:solidFill>
                  <a:srgbClr val="575757"/>
                </a:solidFill>
                <a:latin typeface="Tahoma"/>
                <a:cs typeface="Tahoma"/>
              </a:rPr>
              <a:t> </a:t>
            </a:r>
            <a:r>
              <a:rPr sz="2133" kern="0" spc="33" dirty="0">
                <a:solidFill>
                  <a:srgbClr val="575757"/>
                </a:solidFill>
                <a:latin typeface="Tahoma"/>
                <a:cs typeface="Tahoma"/>
              </a:rPr>
              <a:t>Access</a:t>
            </a:r>
            <a:r>
              <a:rPr sz="2133" kern="0" spc="-117" dirty="0">
                <a:solidFill>
                  <a:srgbClr val="575757"/>
                </a:solidFill>
                <a:latin typeface="Tahoma"/>
                <a:cs typeface="Tahoma"/>
              </a:rPr>
              <a:t> </a:t>
            </a:r>
            <a:r>
              <a:rPr sz="2133" kern="0" dirty="0">
                <a:solidFill>
                  <a:srgbClr val="575757"/>
                </a:solidFill>
                <a:latin typeface="Tahoma"/>
                <a:cs typeface="Tahoma"/>
              </a:rPr>
              <a:t>and</a:t>
            </a:r>
            <a:r>
              <a:rPr sz="2133" kern="0" spc="-117" dirty="0">
                <a:solidFill>
                  <a:srgbClr val="575757"/>
                </a:solidFill>
                <a:latin typeface="Tahoma"/>
                <a:cs typeface="Tahoma"/>
              </a:rPr>
              <a:t> </a:t>
            </a:r>
            <a:r>
              <a:rPr sz="2133" kern="0" spc="37" dirty="0">
                <a:solidFill>
                  <a:srgbClr val="575757"/>
                </a:solidFill>
                <a:latin typeface="Tahoma"/>
                <a:cs typeface="Tahoma"/>
              </a:rPr>
              <a:t>Outcomes</a:t>
            </a:r>
            <a:r>
              <a:rPr sz="2133" kern="0" spc="-113" dirty="0">
                <a:solidFill>
                  <a:srgbClr val="575757"/>
                </a:solidFill>
                <a:latin typeface="Tahoma"/>
                <a:cs typeface="Tahoma"/>
              </a:rPr>
              <a:t> </a:t>
            </a:r>
            <a:r>
              <a:rPr sz="2133" kern="0" spc="-17" dirty="0">
                <a:solidFill>
                  <a:srgbClr val="575757"/>
                </a:solidFill>
                <a:latin typeface="Tahoma"/>
                <a:cs typeface="Tahoma"/>
              </a:rPr>
              <a:t>on </a:t>
            </a:r>
            <a:r>
              <a:rPr sz="2133" kern="0" dirty="0">
                <a:solidFill>
                  <a:srgbClr val="575757"/>
                </a:solidFill>
                <a:latin typeface="Tahoma"/>
                <a:cs typeface="Tahoma"/>
              </a:rPr>
              <a:t>Chicago’s</a:t>
            </a:r>
            <a:r>
              <a:rPr sz="2133" kern="0" spc="-7" dirty="0">
                <a:solidFill>
                  <a:srgbClr val="575757"/>
                </a:solidFill>
                <a:latin typeface="Tahoma"/>
                <a:cs typeface="Tahoma"/>
              </a:rPr>
              <a:t> </a:t>
            </a:r>
            <a:r>
              <a:rPr sz="2133" kern="0" dirty="0">
                <a:solidFill>
                  <a:srgbClr val="575757"/>
                </a:solidFill>
                <a:latin typeface="Tahoma"/>
                <a:cs typeface="Tahoma"/>
              </a:rPr>
              <a:t>South</a:t>
            </a:r>
            <a:r>
              <a:rPr sz="2133" kern="0" spc="-7" dirty="0">
                <a:solidFill>
                  <a:srgbClr val="575757"/>
                </a:solidFill>
                <a:latin typeface="Tahoma"/>
                <a:cs typeface="Tahoma"/>
              </a:rPr>
              <a:t> </a:t>
            </a:r>
            <a:r>
              <a:rPr sz="2133" kern="0" spc="-13" dirty="0">
                <a:solidFill>
                  <a:srgbClr val="575757"/>
                </a:solidFill>
                <a:latin typeface="Tahoma"/>
                <a:cs typeface="Tahoma"/>
              </a:rPr>
              <a:t>Side</a:t>
            </a:r>
            <a:endParaRPr sz="2133" kern="0">
              <a:solidFill>
                <a:sysClr val="windowText" lastClr="000000"/>
              </a:solidFill>
              <a:latin typeface="Tahoma"/>
              <a:cs typeface="Tahoma"/>
            </a:endParaRPr>
          </a:p>
          <a:p>
            <a:pPr defTabSz="609630">
              <a:spcBef>
                <a:spcPts val="410"/>
              </a:spcBef>
            </a:pPr>
            <a:endParaRPr sz="2133" kern="0">
              <a:solidFill>
                <a:sysClr val="windowText" lastClr="000000"/>
              </a:solidFill>
              <a:latin typeface="Tahoma"/>
              <a:cs typeface="Tahoma"/>
            </a:endParaRPr>
          </a:p>
          <a:p>
            <a:pPr marL="8467" marR="3387" algn="ctr" defTabSz="609630">
              <a:lnSpc>
                <a:spcPct val="116599"/>
              </a:lnSpc>
            </a:pPr>
            <a:r>
              <a:rPr sz="2133" kern="0" dirty="0">
                <a:solidFill>
                  <a:srgbClr val="575757"/>
                </a:solidFill>
                <a:latin typeface="Tahoma"/>
                <a:cs typeface="Tahoma"/>
              </a:rPr>
              <a:t>Jeanine</a:t>
            </a:r>
            <a:r>
              <a:rPr sz="2133" kern="0" spc="-73" dirty="0">
                <a:solidFill>
                  <a:srgbClr val="575757"/>
                </a:solidFill>
                <a:latin typeface="Tahoma"/>
                <a:cs typeface="Tahoma"/>
              </a:rPr>
              <a:t> </a:t>
            </a:r>
            <a:r>
              <a:rPr sz="2133" kern="0" dirty="0">
                <a:solidFill>
                  <a:srgbClr val="575757"/>
                </a:solidFill>
                <a:latin typeface="Tahoma"/>
                <a:cs typeface="Tahoma"/>
              </a:rPr>
              <a:t>Valrie</a:t>
            </a:r>
            <a:r>
              <a:rPr sz="2133" kern="0" spc="-70" dirty="0">
                <a:solidFill>
                  <a:srgbClr val="575757"/>
                </a:solidFill>
                <a:latin typeface="Tahoma"/>
                <a:cs typeface="Tahoma"/>
              </a:rPr>
              <a:t> </a:t>
            </a:r>
            <a:r>
              <a:rPr sz="2133" kern="0" spc="-33" dirty="0">
                <a:solidFill>
                  <a:srgbClr val="575757"/>
                </a:solidFill>
                <a:latin typeface="Tahoma"/>
                <a:cs typeface="Tahoma"/>
              </a:rPr>
              <a:t>Logan,</a:t>
            </a:r>
            <a:r>
              <a:rPr sz="2133" kern="0" spc="-70" dirty="0">
                <a:solidFill>
                  <a:srgbClr val="575757"/>
                </a:solidFill>
                <a:latin typeface="Tahoma"/>
                <a:cs typeface="Tahoma"/>
              </a:rPr>
              <a:t> </a:t>
            </a:r>
            <a:r>
              <a:rPr sz="2133" kern="0" spc="123" dirty="0">
                <a:solidFill>
                  <a:srgbClr val="575757"/>
                </a:solidFill>
                <a:latin typeface="Tahoma"/>
                <a:cs typeface="Tahoma"/>
              </a:rPr>
              <a:t>MPH,</a:t>
            </a:r>
            <a:r>
              <a:rPr sz="2133" kern="0" spc="-73" dirty="0">
                <a:solidFill>
                  <a:srgbClr val="575757"/>
                </a:solidFill>
                <a:latin typeface="Tahoma"/>
                <a:cs typeface="Tahoma"/>
              </a:rPr>
              <a:t> </a:t>
            </a:r>
            <a:r>
              <a:rPr sz="2133" kern="0" spc="90" dirty="0">
                <a:solidFill>
                  <a:srgbClr val="575757"/>
                </a:solidFill>
                <a:latin typeface="Tahoma"/>
                <a:cs typeface="Tahoma"/>
              </a:rPr>
              <a:t>MSN,</a:t>
            </a:r>
            <a:r>
              <a:rPr sz="2133" kern="0" spc="-70" dirty="0">
                <a:solidFill>
                  <a:srgbClr val="575757"/>
                </a:solidFill>
                <a:latin typeface="Tahoma"/>
                <a:cs typeface="Tahoma"/>
              </a:rPr>
              <a:t> </a:t>
            </a:r>
            <a:r>
              <a:rPr sz="2133" kern="0" spc="220" dirty="0">
                <a:solidFill>
                  <a:srgbClr val="575757"/>
                </a:solidFill>
                <a:latin typeface="Tahoma"/>
                <a:cs typeface="Tahoma"/>
              </a:rPr>
              <a:t>CNM </a:t>
            </a:r>
            <a:r>
              <a:rPr sz="2133" kern="0" dirty="0">
                <a:solidFill>
                  <a:srgbClr val="575757"/>
                </a:solidFill>
                <a:latin typeface="Tahoma"/>
                <a:cs typeface="Tahoma"/>
              </a:rPr>
              <a:t>Founder</a:t>
            </a:r>
            <a:r>
              <a:rPr sz="2133" kern="0" spc="-63" dirty="0">
                <a:solidFill>
                  <a:srgbClr val="575757"/>
                </a:solidFill>
                <a:latin typeface="Tahoma"/>
                <a:cs typeface="Tahoma"/>
              </a:rPr>
              <a:t> </a:t>
            </a:r>
            <a:r>
              <a:rPr sz="2133" kern="0" dirty="0">
                <a:solidFill>
                  <a:srgbClr val="575757"/>
                </a:solidFill>
                <a:latin typeface="Tahoma"/>
                <a:cs typeface="Tahoma"/>
              </a:rPr>
              <a:t>and</a:t>
            </a:r>
            <a:r>
              <a:rPr sz="2133" kern="0" spc="-63" dirty="0">
                <a:solidFill>
                  <a:srgbClr val="575757"/>
                </a:solidFill>
                <a:latin typeface="Tahoma"/>
                <a:cs typeface="Tahoma"/>
              </a:rPr>
              <a:t> </a:t>
            </a:r>
            <a:r>
              <a:rPr sz="2133" kern="0" dirty="0">
                <a:solidFill>
                  <a:srgbClr val="575757"/>
                </a:solidFill>
                <a:latin typeface="Tahoma"/>
                <a:cs typeface="Tahoma"/>
              </a:rPr>
              <a:t>Lead</a:t>
            </a:r>
            <a:r>
              <a:rPr sz="2133" kern="0" spc="-63" dirty="0">
                <a:solidFill>
                  <a:srgbClr val="575757"/>
                </a:solidFill>
                <a:latin typeface="Tahoma"/>
                <a:cs typeface="Tahoma"/>
              </a:rPr>
              <a:t> </a:t>
            </a:r>
            <a:r>
              <a:rPr sz="2133" kern="0" spc="-7" dirty="0">
                <a:solidFill>
                  <a:srgbClr val="575757"/>
                </a:solidFill>
                <a:latin typeface="Tahoma"/>
                <a:cs typeface="Tahoma"/>
              </a:rPr>
              <a:t>Steward</a:t>
            </a:r>
            <a:endParaRPr sz="2133" kern="0">
              <a:solidFill>
                <a:sysClr val="windowText" lastClr="000000"/>
              </a:solidFill>
              <a:latin typeface="Tahoma"/>
              <a:cs typeface="Tahom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543049" y="1531562"/>
            <a:ext cx="3498003" cy="3646593"/>
            <a:chOff x="2314573" y="2297342"/>
            <a:chExt cx="5247005" cy="5469890"/>
          </a:xfrm>
        </p:grpSpPr>
        <p:pic>
          <p:nvPicPr>
            <p:cNvPr id="3" name="object 3"/>
            <p:cNvPicPr/>
            <p:nvPr/>
          </p:nvPicPr>
          <p:blipFill>
            <a:blip r:embed="rId2" cstate="print"/>
            <a:stretch>
              <a:fillRect/>
            </a:stretch>
          </p:blipFill>
          <p:spPr>
            <a:xfrm>
              <a:off x="2314573" y="2297342"/>
              <a:ext cx="5246369" cy="5245100"/>
            </a:xfrm>
            <a:prstGeom prst="rect">
              <a:avLst/>
            </a:prstGeom>
          </p:spPr>
        </p:pic>
        <p:sp>
          <p:nvSpPr>
            <p:cNvPr id="4" name="object 4"/>
            <p:cNvSpPr/>
            <p:nvPr/>
          </p:nvSpPr>
          <p:spPr>
            <a:xfrm>
              <a:off x="6173489" y="6379210"/>
              <a:ext cx="1387475" cy="1387475"/>
            </a:xfrm>
            <a:custGeom>
              <a:avLst/>
              <a:gdLst/>
              <a:ahLst/>
              <a:cxnLst/>
              <a:rect l="l" t="t" r="r" b="b"/>
              <a:pathLst>
                <a:path w="1387475" h="1387475">
                  <a:moveTo>
                    <a:pt x="693737" y="1387474"/>
                  </a:moveTo>
                  <a:lnTo>
                    <a:pt x="646239" y="1385874"/>
                  </a:lnTo>
                  <a:lnTo>
                    <a:pt x="599601" y="1381141"/>
                  </a:lnTo>
                  <a:lnTo>
                    <a:pt x="553925" y="1373380"/>
                  </a:lnTo>
                  <a:lnTo>
                    <a:pt x="509314" y="1362693"/>
                  </a:lnTo>
                  <a:lnTo>
                    <a:pt x="465872" y="1349185"/>
                  </a:lnTo>
                  <a:lnTo>
                    <a:pt x="423703" y="1332957"/>
                  </a:lnTo>
                  <a:lnTo>
                    <a:pt x="382909" y="1314114"/>
                  </a:lnTo>
                  <a:lnTo>
                    <a:pt x="343595" y="1292759"/>
                  </a:lnTo>
                  <a:lnTo>
                    <a:pt x="305862" y="1268995"/>
                  </a:lnTo>
                  <a:lnTo>
                    <a:pt x="269815" y="1242925"/>
                  </a:lnTo>
                  <a:lnTo>
                    <a:pt x="235557" y="1214654"/>
                  </a:lnTo>
                  <a:lnTo>
                    <a:pt x="203191" y="1184283"/>
                  </a:lnTo>
                  <a:lnTo>
                    <a:pt x="172820" y="1151917"/>
                  </a:lnTo>
                  <a:lnTo>
                    <a:pt x="144549" y="1117659"/>
                  </a:lnTo>
                  <a:lnTo>
                    <a:pt x="118479" y="1081612"/>
                  </a:lnTo>
                  <a:lnTo>
                    <a:pt x="94715" y="1043880"/>
                  </a:lnTo>
                  <a:lnTo>
                    <a:pt x="73360" y="1004565"/>
                  </a:lnTo>
                  <a:lnTo>
                    <a:pt x="54517" y="963771"/>
                  </a:lnTo>
                  <a:lnTo>
                    <a:pt x="38289" y="921602"/>
                  </a:lnTo>
                  <a:lnTo>
                    <a:pt x="24781" y="878160"/>
                  </a:lnTo>
                  <a:lnTo>
                    <a:pt x="14094" y="833549"/>
                  </a:lnTo>
                  <a:lnTo>
                    <a:pt x="6333" y="787873"/>
                  </a:lnTo>
                  <a:lnTo>
                    <a:pt x="1600" y="741235"/>
                  </a:lnTo>
                  <a:lnTo>
                    <a:pt x="0" y="693737"/>
                  </a:lnTo>
                  <a:lnTo>
                    <a:pt x="1600" y="646240"/>
                  </a:lnTo>
                  <a:lnTo>
                    <a:pt x="6333" y="599601"/>
                  </a:lnTo>
                  <a:lnTo>
                    <a:pt x="14094" y="553925"/>
                  </a:lnTo>
                  <a:lnTo>
                    <a:pt x="24781" y="509314"/>
                  </a:lnTo>
                  <a:lnTo>
                    <a:pt x="38289" y="465873"/>
                  </a:lnTo>
                  <a:lnTo>
                    <a:pt x="54517" y="423703"/>
                  </a:lnTo>
                  <a:lnTo>
                    <a:pt x="73360" y="382909"/>
                  </a:lnTo>
                  <a:lnTo>
                    <a:pt x="94715" y="343595"/>
                  </a:lnTo>
                  <a:lnTo>
                    <a:pt x="118479" y="305862"/>
                  </a:lnTo>
                  <a:lnTo>
                    <a:pt x="144549" y="269815"/>
                  </a:lnTo>
                  <a:lnTo>
                    <a:pt x="172820" y="235557"/>
                  </a:lnTo>
                  <a:lnTo>
                    <a:pt x="203191" y="203191"/>
                  </a:lnTo>
                  <a:lnTo>
                    <a:pt x="235557" y="172820"/>
                  </a:lnTo>
                  <a:lnTo>
                    <a:pt x="269815" y="144548"/>
                  </a:lnTo>
                  <a:lnTo>
                    <a:pt x="305862" y="118479"/>
                  </a:lnTo>
                  <a:lnTo>
                    <a:pt x="343595" y="94715"/>
                  </a:lnTo>
                  <a:lnTo>
                    <a:pt x="382909" y="73360"/>
                  </a:lnTo>
                  <a:lnTo>
                    <a:pt x="423703" y="54517"/>
                  </a:lnTo>
                  <a:lnTo>
                    <a:pt x="465872" y="38289"/>
                  </a:lnTo>
                  <a:lnTo>
                    <a:pt x="509314" y="24780"/>
                  </a:lnTo>
                  <a:lnTo>
                    <a:pt x="553925" y="14094"/>
                  </a:lnTo>
                  <a:lnTo>
                    <a:pt x="599601" y="6333"/>
                  </a:lnTo>
                  <a:lnTo>
                    <a:pt x="646239" y="1600"/>
                  </a:lnTo>
                  <a:lnTo>
                    <a:pt x="693737" y="0"/>
                  </a:lnTo>
                  <a:lnTo>
                    <a:pt x="741234" y="1600"/>
                  </a:lnTo>
                  <a:lnTo>
                    <a:pt x="787873" y="6333"/>
                  </a:lnTo>
                  <a:lnTo>
                    <a:pt x="833549" y="14094"/>
                  </a:lnTo>
                  <a:lnTo>
                    <a:pt x="878160" y="24780"/>
                  </a:lnTo>
                  <a:lnTo>
                    <a:pt x="921601" y="38289"/>
                  </a:lnTo>
                  <a:lnTo>
                    <a:pt x="963771" y="54517"/>
                  </a:lnTo>
                  <a:lnTo>
                    <a:pt x="1004565" y="73360"/>
                  </a:lnTo>
                  <a:lnTo>
                    <a:pt x="1043880" y="94715"/>
                  </a:lnTo>
                  <a:lnTo>
                    <a:pt x="1081612" y="118479"/>
                  </a:lnTo>
                  <a:lnTo>
                    <a:pt x="1117659" y="144548"/>
                  </a:lnTo>
                  <a:lnTo>
                    <a:pt x="1151918" y="172820"/>
                  </a:lnTo>
                  <a:lnTo>
                    <a:pt x="1184284" y="203191"/>
                  </a:lnTo>
                  <a:lnTo>
                    <a:pt x="1214654" y="235557"/>
                  </a:lnTo>
                  <a:lnTo>
                    <a:pt x="1242926" y="269815"/>
                  </a:lnTo>
                  <a:lnTo>
                    <a:pt x="1268995" y="305862"/>
                  </a:lnTo>
                  <a:lnTo>
                    <a:pt x="1292759" y="343595"/>
                  </a:lnTo>
                  <a:lnTo>
                    <a:pt x="1314114" y="382909"/>
                  </a:lnTo>
                  <a:lnTo>
                    <a:pt x="1332957" y="423703"/>
                  </a:lnTo>
                  <a:lnTo>
                    <a:pt x="1349185" y="465873"/>
                  </a:lnTo>
                  <a:lnTo>
                    <a:pt x="1362694" y="509314"/>
                  </a:lnTo>
                  <a:lnTo>
                    <a:pt x="1373380" y="553925"/>
                  </a:lnTo>
                  <a:lnTo>
                    <a:pt x="1381142" y="599601"/>
                  </a:lnTo>
                  <a:lnTo>
                    <a:pt x="1385874" y="646240"/>
                  </a:lnTo>
                  <a:lnTo>
                    <a:pt x="1387475" y="693737"/>
                  </a:lnTo>
                  <a:lnTo>
                    <a:pt x="1385874" y="741235"/>
                  </a:lnTo>
                  <a:lnTo>
                    <a:pt x="1381142" y="787873"/>
                  </a:lnTo>
                  <a:lnTo>
                    <a:pt x="1373380" y="833549"/>
                  </a:lnTo>
                  <a:lnTo>
                    <a:pt x="1362694" y="878160"/>
                  </a:lnTo>
                  <a:lnTo>
                    <a:pt x="1349185" y="921602"/>
                  </a:lnTo>
                  <a:lnTo>
                    <a:pt x="1332957" y="963771"/>
                  </a:lnTo>
                  <a:lnTo>
                    <a:pt x="1314114" y="1004565"/>
                  </a:lnTo>
                  <a:lnTo>
                    <a:pt x="1292759" y="1043880"/>
                  </a:lnTo>
                  <a:lnTo>
                    <a:pt x="1268995" y="1081612"/>
                  </a:lnTo>
                  <a:lnTo>
                    <a:pt x="1242926" y="1117659"/>
                  </a:lnTo>
                  <a:lnTo>
                    <a:pt x="1214654" y="1151917"/>
                  </a:lnTo>
                  <a:lnTo>
                    <a:pt x="1184284" y="1184283"/>
                  </a:lnTo>
                  <a:lnTo>
                    <a:pt x="1151918" y="1214654"/>
                  </a:lnTo>
                  <a:lnTo>
                    <a:pt x="1117659" y="1242925"/>
                  </a:lnTo>
                  <a:lnTo>
                    <a:pt x="1081612" y="1268995"/>
                  </a:lnTo>
                  <a:lnTo>
                    <a:pt x="1043880" y="1292759"/>
                  </a:lnTo>
                  <a:lnTo>
                    <a:pt x="1004565" y="1314114"/>
                  </a:lnTo>
                  <a:lnTo>
                    <a:pt x="963771" y="1332957"/>
                  </a:lnTo>
                  <a:lnTo>
                    <a:pt x="921601" y="1349185"/>
                  </a:lnTo>
                  <a:lnTo>
                    <a:pt x="878160" y="1362693"/>
                  </a:lnTo>
                  <a:lnTo>
                    <a:pt x="833549" y="1373380"/>
                  </a:lnTo>
                  <a:lnTo>
                    <a:pt x="787873" y="1381141"/>
                  </a:lnTo>
                  <a:lnTo>
                    <a:pt x="741234" y="1385874"/>
                  </a:lnTo>
                  <a:lnTo>
                    <a:pt x="693737" y="1387474"/>
                  </a:lnTo>
                  <a:close/>
                </a:path>
              </a:pathLst>
            </a:custGeom>
            <a:solidFill>
              <a:srgbClr val="CCD0A7"/>
            </a:solidFill>
          </p:spPr>
          <p:txBody>
            <a:bodyPr wrap="square" lIns="0" tIns="0" rIns="0" bIns="0" rtlCol="0"/>
            <a:lstStyle/>
            <a:p>
              <a:pPr defTabSz="609630"/>
              <a:endParaRPr sz="1200" kern="0">
                <a:solidFill>
                  <a:sysClr val="windowText" lastClr="000000"/>
                </a:solidFill>
              </a:endParaRPr>
            </a:p>
          </p:txBody>
        </p:sp>
      </p:grpSp>
      <p:sp>
        <p:nvSpPr>
          <p:cNvPr id="5" name="object 5"/>
          <p:cNvSpPr txBox="1">
            <a:spLocks noGrp="1"/>
          </p:cNvSpPr>
          <p:nvPr>
            <p:ph type="title"/>
          </p:nvPr>
        </p:nvSpPr>
        <p:spPr>
          <a:xfrm>
            <a:off x="5554067" y="1962938"/>
            <a:ext cx="5316220" cy="1786814"/>
          </a:xfrm>
          <a:prstGeom prst="rect">
            <a:avLst/>
          </a:prstGeom>
        </p:spPr>
        <p:txBody>
          <a:bodyPr vert="horz" wrap="square" lIns="0" tIns="93133" rIns="0" bIns="0" rtlCol="0">
            <a:spAutoFit/>
          </a:bodyPr>
          <a:lstStyle/>
          <a:p>
            <a:pPr marL="8467" marR="3387">
              <a:lnSpc>
                <a:spcPts val="6600"/>
              </a:lnSpc>
              <a:spcBef>
                <a:spcPts val="733"/>
              </a:spcBef>
            </a:pPr>
            <a:r>
              <a:rPr spc="260" dirty="0">
                <a:solidFill>
                  <a:srgbClr val="33251B"/>
                </a:solidFill>
              </a:rPr>
              <a:t>The</a:t>
            </a:r>
            <a:r>
              <a:rPr spc="-420" dirty="0">
                <a:solidFill>
                  <a:srgbClr val="33251B"/>
                </a:solidFill>
              </a:rPr>
              <a:t> </a:t>
            </a:r>
            <a:r>
              <a:rPr spc="-187" dirty="0">
                <a:solidFill>
                  <a:srgbClr val="33251B"/>
                </a:solidFill>
              </a:rPr>
              <a:t>Need</a:t>
            </a:r>
            <a:r>
              <a:rPr spc="-417" dirty="0">
                <a:solidFill>
                  <a:srgbClr val="33251B"/>
                </a:solidFill>
              </a:rPr>
              <a:t> </a:t>
            </a:r>
            <a:r>
              <a:rPr spc="200" dirty="0">
                <a:solidFill>
                  <a:srgbClr val="33251B"/>
                </a:solidFill>
              </a:rPr>
              <a:t>&amp; </a:t>
            </a:r>
            <a:r>
              <a:rPr spc="260" dirty="0">
                <a:solidFill>
                  <a:srgbClr val="33251B"/>
                </a:solidFill>
              </a:rPr>
              <a:t>The</a:t>
            </a:r>
            <a:r>
              <a:rPr spc="-417" dirty="0">
                <a:solidFill>
                  <a:srgbClr val="33251B"/>
                </a:solidFill>
              </a:rPr>
              <a:t> </a:t>
            </a:r>
            <a:r>
              <a:rPr spc="193" dirty="0">
                <a:solidFill>
                  <a:srgbClr val="33251B"/>
                </a:solidFill>
              </a:rPr>
              <a:t>South</a:t>
            </a:r>
            <a:r>
              <a:rPr spc="-417" dirty="0">
                <a:solidFill>
                  <a:srgbClr val="33251B"/>
                </a:solidFill>
              </a:rPr>
              <a:t> </a:t>
            </a:r>
            <a:r>
              <a:rPr spc="143" dirty="0">
                <a:solidFill>
                  <a:srgbClr val="33251B"/>
                </a:solidFill>
              </a:rPr>
              <a:t>Side</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158647" y="685800"/>
            <a:ext cx="673100" cy="673100"/>
          </a:xfrm>
          <a:custGeom>
            <a:avLst/>
            <a:gdLst/>
            <a:ahLst/>
            <a:cxnLst/>
            <a:rect l="l" t="t" r="r" b="b"/>
            <a:pathLst>
              <a:path w="1009650" h="1009650">
                <a:moveTo>
                  <a:pt x="504676" y="1009354"/>
                </a:moveTo>
                <a:lnTo>
                  <a:pt x="456073" y="1007044"/>
                </a:lnTo>
                <a:lnTo>
                  <a:pt x="408776" y="1000254"/>
                </a:lnTo>
                <a:lnTo>
                  <a:pt x="362998" y="989196"/>
                </a:lnTo>
                <a:lnTo>
                  <a:pt x="318950" y="974081"/>
                </a:lnTo>
                <a:lnTo>
                  <a:pt x="276844" y="955122"/>
                </a:lnTo>
                <a:lnTo>
                  <a:pt x="236891" y="932529"/>
                </a:lnTo>
                <a:lnTo>
                  <a:pt x="199302" y="906514"/>
                </a:lnTo>
                <a:lnTo>
                  <a:pt x="164290" y="877288"/>
                </a:lnTo>
                <a:lnTo>
                  <a:pt x="132065" y="845063"/>
                </a:lnTo>
                <a:lnTo>
                  <a:pt x="102840" y="810051"/>
                </a:lnTo>
                <a:lnTo>
                  <a:pt x="76824" y="772462"/>
                </a:lnTo>
                <a:lnTo>
                  <a:pt x="54231" y="732509"/>
                </a:lnTo>
                <a:lnTo>
                  <a:pt x="35272" y="690403"/>
                </a:lnTo>
                <a:lnTo>
                  <a:pt x="20157" y="646355"/>
                </a:lnTo>
                <a:lnTo>
                  <a:pt x="9100" y="600577"/>
                </a:lnTo>
                <a:lnTo>
                  <a:pt x="2310" y="553280"/>
                </a:lnTo>
                <a:lnTo>
                  <a:pt x="0" y="504677"/>
                </a:lnTo>
                <a:lnTo>
                  <a:pt x="2310" y="456073"/>
                </a:lnTo>
                <a:lnTo>
                  <a:pt x="9100" y="408776"/>
                </a:lnTo>
                <a:lnTo>
                  <a:pt x="20157" y="362998"/>
                </a:lnTo>
                <a:lnTo>
                  <a:pt x="35272" y="318950"/>
                </a:lnTo>
                <a:lnTo>
                  <a:pt x="54231" y="276844"/>
                </a:lnTo>
                <a:lnTo>
                  <a:pt x="76824" y="236891"/>
                </a:lnTo>
                <a:lnTo>
                  <a:pt x="102840" y="199303"/>
                </a:lnTo>
                <a:lnTo>
                  <a:pt x="132065" y="164290"/>
                </a:lnTo>
                <a:lnTo>
                  <a:pt x="164290" y="132065"/>
                </a:lnTo>
                <a:lnTo>
                  <a:pt x="199302" y="102840"/>
                </a:lnTo>
                <a:lnTo>
                  <a:pt x="236891" y="76824"/>
                </a:lnTo>
                <a:lnTo>
                  <a:pt x="276844" y="54231"/>
                </a:lnTo>
                <a:lnTo>
                  <a:pt x="318950" y="35272"/>
                </a:lnTo>
                <a:lnTo>
                  <a:pt x="362998" y="20157"/>
                </a:lnTo>
                <a:lnTo>
                  <a:pt x="408776" y="9100"/>
                </a:lnTo>
                <a:lnTo>
                  <a:pt x="456073" y="2310"/>
                </a:lnTo>
                <a:lnTo>
                  <a:pt x="504676" y="0"/>
                </a:lnTo>
                <a:lnTo>
                  <a:pt x="553280" y="2310"/>
                </a:lnTo>
                <a:lnTo>
                  <a:pt x="600577" y="9100"/>
                </a:lnTo>
                <a:lnTo>
                  <a:pt x="646355" y="20157"/>
                </a:lnTo>
                <a:lnTo>
                  <a:pt x="690403" y="35272"/>
                </a:lnTo>
                <a:lnTo>
                  <a:pt x="732509" y="54231"/>
                </a:lnTo>
                <a:lnTo>
                  <a:pt x="772462" y="76824"/>
                </a:lnTo>
                <a:lnTo>
                  <a:pt x="810051" y="102840"/>
                </a:lnTo>
                <a:lnTo>
                  <a:pt x="845063" y="132065"/>
                </a:lnTo>
                <a:lnTo>
                  <a:pt x="877288" y="164290"/>
                </a:lnTo>
                <a:lnTo>
                  <a:pt x="906514" y="199303"/>
                </a:lnTo>
                <a:lnTo>
                  <a:pt x="932529" y="236891"/>
                </a:lnTo>
                <a:lnTo>
                  <a:pt x="955122" y="276844"/>
                </a:lnTo>
                <a:lnTo>
                  <a:pt x="974082" y="318950"/>
                </a:lnTo>
                <a:lnTo>
                  <a:pt x="989196" y="362998"/>
                </a:lnTo>
                <a:lnTo>
                  <a:pt x="1000254" y="408776"/>
                </a:lnTo>
                <a:lnTo>
                  <a:pt x="1007044" y="456073"/>
                </a:lnTo>
                <a:lnTo>
                  <a:pt x="1009354" y="504677"/>
                </a:lnTo>
                <a:lnTo>
                  <a:pt x="1007044" y="553280"/>
                </a:lnTo>
                <a:lnTo>
                  <a:pt x="1000254" y="600577"/>
                </a:lnTo>
                <a:lnTo>
                  <a:pt x="989196" y="646355"/>
                </a:lnTo>
                <a:lnTo>
                  <a:pt x="974082" y="690403"/>
                </a:lnTo>
                <a:lnTo>
                  <a:pt x="955122" y="732509"/>
                </a:lnTo>
                <a:lnTo>
                  <a:pt x="932529" y="772462"/>
                </a:lnTo>
                <a:lnTo>
                  <a:pt x="906514" y="810051"/>
                </a:lnTo>
                <a:lnTo>
                  <a:pt x="877288" y="845063"/>
                </a:lnTo>
                <a:lnTo>
                  <a:pt x="845063" y="877288"/>
                </a:lnTo>
                <a:lnTo>
                  <a:pt x="810051" y="906514"/>
                </a:lnTo>
                <a:lnTo>
                  <a:pt x="772462" y="932529"/>
                </a:lnTo>
                <a:lnTo>
                  <a:pt x="732509" y="955122"/>
                </a:lnTo>
                <a:lnTo>
                  <a:pt x="690403" y="974081"/>
                </a:lnTo>
                <a:lnTo>
                  <a:pt x="646355" y="989196"/>
                </a:lnTo>
                <a:lnTo>
                  <a:pt x="600577" y="1000254"/>
                </a:lnTo>
                <a:lnTo>
                  <a:pt x="553280" y="1007044"/>
                </a:lnTo>
                <a:lnTo>
                  <a:pt x="504676" y="1009354"/>
                </a:lnTo>
                <a:close/>
              </a:path>
            </a:pathLst>
          </a:custGeom>
          <a:solidFill>
            <a:srgbClr val="898B6B"/>
          </a:solidFill>
        </p:spPr>
        <p:txBody>
          <a:bodyPr wrap="square" lIns="0" tIns="0" rIns="0" bIns="0" rtlCol="0"/>
          <a:lstStyle/>
          <a:p>
            <a:pPr defTabSz="609630"/>
            <a:endParaRPr sz="1200" kern="0">
              <a:solidFill>
                <a:sysClr val="windowText" lastClr="000000"/>
              </a:solidFill>
            </a:endParaRPr>
          </a:p>
        </p:txBody>
      </p:sp>
      <p:sp>
        <p:nvSpPr>
          <p:cNvPr id="3" name="object 3"/>
          <p:cNvSpPr/>
          <p:nvPr/>
        </p:nvSpPr>
        <p:spPr>
          <a:xfrm>
            <a:off x="5423096" y="5673448"/>
            <a:ext cx="673100" cy="673100"/>
          </a:xfrm>
          <a:custGeom>
            <a:avLst/>
            <a:gdLst/>
            <a:ahLst/>
            <a:cxnLst/>
            <a:rect l="l" t="t" r="r" b="b"/>
            <a:pathLst>
              <a:path w="1009650" h="1009650">
                <a:moveTo>
                  <a:pt x="504676" y="1009354"/>
                </a:moveTo>
                <a:lnTo>
                  <a:pt x="456073" y="1007044"/>
                </a:lnTo>
                <a:lnTo>
                  <a:pt x="408776" y="1000254"/>
                </a:lnTo>
                <a:lnTo>
                  <a:pt x="362998" y="989196"/>
                </a:lnTo>
                <a:lnTo>
                  <a:pt x="318950" y="974082"/>
                </a:lnTo>
                <a:lnTo>
                  <a:pt x="276844" y="955122"/>
                </a:lnTo>
                <a:lnTo>
                  <a:pt x="236891" y="932529"/>
                </a:lnTo>
                <a:lnTo>
                  <a:pt x="199302" y="906514"/>
                </a:lnTo>
                <a:lnTo>
                  <a:pt x="164290" y="877288"/>
                </a:lnTo>
                <a:lnTo>
                  <a:pt x="132065" y="845063"/>
                </a:lnTo>
                <a:lnTo>
                  <a:pt x="102840" y="810051"/>
                </a:lnTo>
                <a:lnTo>
                  <a:pt x="76824" y="772462"/>
                </a:lnTo>
                <a:lnTo>
                  <a:pt x="54231" y="732509"/>
                </a:lnTo>
                <a:lnTo>
                  <a:pt x="35272" y="690403"/>
                </a:lnTo>
                <a:lnTo>
                  <a:pt x="20157" y="646355"/>
                </a:lnTo>
                <a:lnTo>
                  <a:pt x="9100" y="600577"/>
                </a:lnTo>
                <a:lnTo>
                  <a:pt x="2310" y="553280"/>
                </a:lnTo>
                <a:lnTo>
                  <a:pt x="0" y="504676"/>
                </a:lnTo>
                <a:lnTo>
                  <a:pt x="2310" y="456073"/>
                </a:lnTo>
                <a:lnTo>
                  <a:pt x="9100" y="408776"/>
                </a:lnTo>
                <a:lnTo>
                  <a:pt x="20157" y="362998"/>
                </a:lnTo>
                <a:lnTo>
                  <a:pt x="35272" y="318950"/>
                </a:lnTo>
                <a:lnTo>
                  <a:pt x="54231" y="276844"/>
                </a:lnTo>
                <a:lnTo>
                  <a:pt x="76824" y="236891"/>
                </a:lnTo>
                <a:lnTo>
                  <a:pt x="102840" y="199302"/>
                </a:lnTo>
                <a:lnTo>
                  <a:pt x="132065" y="164290"/>
                </a:lnTo>
                <a:lnTo>
                  <a:pt x="164290" y="132065"/>
                </a:lnTo>
                <a:lnTo>
                  <a:pt x="199302" y="102840"/>
                </a:lnTo>
                <a:lnTo>
                  <a:pt x="236891" y="76824"/>
                </a:lnTo>
                <a:lnTo>
                  <a:pt x="276844" y="54231"/>
                </a:lnTo>
                <a:lnTo>
                  <a:pt x="318950" y="35272"/>
                </a:lnTo>
                <a:lnTo>
                  <a:pt x="362998" y="20157"/>
                </a:lnTo>
                <a:lnTo>
                  <a:pt x="408776" y="9100"/>
                </a:lnTo>
                <a:lnTo>
                  <a:pt x="456073" y="2310"/>
                </a:lnTo>
                <a:lnTo>
                  <a:pt x="504676" y="0"/>
                </a:lnTo>
                <a:lnTo>
                  <a:pt x="553280" y="2310"/>
                </a:lnTo>
                <a:lnTo>
                  <a:pt x="600577" y="9100"/>
                </a:lnTo>
                <a:lnTo>
                  <a:pt x="646355" y="20157"/>
                </a:lnTo>
                <a:lnTo>
                  <a:pt x="690403" y="35272"/>
                </a:lnTo>
                <a:lnTo>
                  <a:pt x="732509" y="54231"/>
                </a:lnTo>
                <a:lnTo>
                  <a:pt x="772462" y="76824"/>
                </a:lnTo>
                <a:lnTo>
                  <a:pt x="810051" y="102840"/>
                </a:lnTo>
                <a:lnTo>
                  <a:pt x="845063" y="132065"/>
                </a:lnTo>
                <a:lnTo>
                  <a:pt x="877288" y="164290"/>
                </a:lnTo>
                <a:lnTo>
                  <a:pt x="906514" y="199302"/>
                </a:lnTo>
                <a:lnTo>
                  <a:pt x="932529" y="236891"/>
                </a:lnTo>
                <a:lnTo>
                  <a:pt x="955122" y="276844"/>
                </a:lnTo>
                <a:lnTo>
                  <a:pt x="974082" y="318950"/>
                </a:lnTo>
                <a:lnTo>
                  <a:pt x="989196" y="362998"/>
                </a:lnTo>
                <a:lnTo>
                  <a:pt x="1000254" y="408776"/>
                </a:lnTo>
                <a:lnTo>
                  <a:pt x="1007044" y="456073"/>
                </a:lnTo>
                <a:lnTo>
                  <a:pt x="1009354" y="504676"/>
                </a:lnTo>
                <a:lnTo>
                  <a:pt x="1007044" y="553280"/>
                </a:lnTo>
                <a:lnTo>
                  <a:pt x="1000254" y="600577"/>
                </a:lnTo>
                <a:lnTo>
                  <a:pt x="989196" y="646355"/>
                </a:lnTo>
                <a:lnTo>
                  <a:pt x="974082" y="690403"/>
                </a:lnTo>
                <a:lnTo>
                  <a:pt x="955122" y="732509"/>
                </a:lnTo>
                <a:lnTo>
                  <a:pt x="932529" y="772462"/>
                </a:lnTo>
                <a:lnTo>
                  <a:pt x="906514" y="810051"/>
                </a:lnTo>
                <a:lnTo>
                  <a:pt x="877288" y="845063"/>
                </a:lnTo>
                <a:lnTo>
                  <a:pt x="845063" y="877288"/>
                </a:lnTo>
                <a:lnTo>
                  <a:pt x="810051" y="906514"/>
                </a:lnTo>
                <a:lnTo>
                  <a:pt x="772462" y="932529"/>
                </a:lnTo>
                <a:lnTo>
                  <a:pt x="732509" y="955122"/>
                </a:lnTo>
                <a:lnTo>
                  <a:pt x="690403" y="974082"/>
                </a:lnTo>
                <a:lnTo>
                  <a:pt x="646355" y="989196"/>
                </a:lnTo>
                <a:lnTo>
                  <a:pt x="600577" y="1000254"/>
                </a:lnTo>
                <a:lnTo>
                  <a:pt x="553280" y="1007044"/>
                </a:lnTo>
                <a:lnTo>
                  <a:pt x="504676" y="1009354"/>
                </a:lnTo>
                <a:close/>
              </a:path>
            </a:pathLst>
          </a:custGeom>
          <a:solidFill>
            <a:srgbClr val="898B6B"/>
          </a:solidFill>
        </p:spPr>
        <p:txBody>
          <a:bodyPr wrap="square" lIns="0" tIns="0" rIns="0" bIns="0" rtlCol="0"/>
          <a:lstStyle/>
          <a:p>
            <a:pPr defTabSz="609630"/>
            <a:endParaRPr sz="1200" kern="0">
              <a:solidFill>
                <a:sysClr val="windowText" lastClr="000000"/>
              </a:solidFill>
            </a:endParaRPr>
          </a:p>
        </p:txBody>
      </p:sp>
      <p:sp>
        <p:nvSpPr>
          <p:cNvPr id="4" name="object 4"/>
          <p:cNvSpPr/>
          <p:nvPr/>
        </p:nvSpPr>
        <p:spPr>
          <a:xfrm>
            <a:off x="0" y="5546513"/>
            <a:ext cx="1035050" cy="1311487"/>
          </a:xfrm>
          <a:custGeom>
            <a:avLst/>
            <a:gdLst/>
            <a:ahLst/>
            <a:cxnLst/>
            <a:rect l="l" t="t" r="r" b="b"/>
            <a:pathLst>
              <a:path w="1552575" h="1967229">
                <a:moveTo>
                  <a:pt x="1496316" y="1967229"/>
                </a:moveTo>
                <a:lnTo>
                  <a:pt x="0" y="1967229"/>
                </a:lnTo>
                <a:lnTo>
                  <a:pt x="0" y="0"/>
                </a:lnTo>
                <a:lnTo>
                  <a:pt x="48354" y="738"/>
                </a:lnTo>
                <a:lnTo>
                  <a:pt x="96339" y="2940"/>
                </a:lnTo>
                <a:lnTo>
                  <a:pt x="143936" y="6584"/>
                </a:lnTo>
                <a:lnTo>
                  <a:pt x="191121" y="11647"/>
                </a:lnTo>
                <a:lnTo>
                  <a:pt x="237873" y="18110"/>
                </a:lnTo>
                <a:lnTo>
                  <a:pt x="284171" y="25950"/>
                </a:lnTo>
                <a:lnTo>
                  <a:pt x="329994" y="35145"/>
                </a:lnTo>
                <a:lnTo>
                  <a:pt x="375320" y="45675"/>
                </a:lnTo>
                <a:lnTo>
                  <a:pt x="420127" y="57518"/>
                </a:lnTo>
                <a:lnTo>
                  <a:pt x="464394" y="70652"/>
                </a:lnTo>
                <a:lnTo>
                  <a:pt x="508100" y="85056"/>
                </a:lnTo>
                <a:lnTo>
                  <a:pt x="551223" y="100708"/>
                </a:lnTo>
                <a:lnTo>
                  <a:pt x="593742" y="117588"/>
                </a:lnTo>
                <a:lnTo>
                  <a:pt x="635634" y="135673"/>
                </a:lnTo>
                <a:lnTo>
                  <a:pt x="676880" y="154942"/>
                </a:lnTo>
                <a:lnTo>
                  <a:pt x="717456" y="175373"/>
                </a:lnTo>
                <a:lnTo>
                  <a:pt x="757342" y="196946"/>
                </a:lnTo>
                <a:lnTo>
                  <a:pt x="796517" y="219638"/>
                </a:lnTo>
                <a:lnTo>
                  <a:pt x="834958" y="243429"/>
                </a:lnTo>
                <a:lnTo>
                  <a:pt x="872645" y="268296"/>
                </a:lnTo>
                <a:lnTo>
                  <a:pt x="909556" y="294219"/>
                </a:lnTo>
                <a:lnTo>
                  <a:pt x="945669" y="321175"/>
                </a:lnTo>
                <a:lnTo>
                  <a:pt x="980963" y="349143"/>
                </a:lnTo>
                <a:lnTo>
                  <a:pt x="1015416" y="378103"/>
                </a:lnTo>
                <a:lnTo>
                  <a:pt x="1049007" y="408031"/>
                </a:lnTo>
                <a:lnTo>
                  <a:pt x="1081715" y="438908"/>
                </a:lnTo>
                <a:lnTo>
                  <a:pt x="1113518" y="470711"/>
                </a:lnTo>
                <a:lnTo>
                  <a:pt x="1144395" y="503419"/>
                </a:lnTo>
                <a:lnTo>
                  <a:pt x="1174324" y="537010"/>
                </a:lnTo>
                <a:lnTo>
                  <a:pt x="1203283" y="571463"/>
                </a:lnTo>
                <a:lnTo>
                  <a:pt x="1231251" y="606757"/>
                </a:lnTo>
                <a:lnTo>
                  <a:pt x="1258208" y="642870"/>
                </a:lnTo>
                <a:lnTo>
                  <a:pt x="1284130" y="679781"/>
                </a:lnTo>
                <a:lnTo>
                  <a:pt x="1308997" y="717468"/>
                </a:lnTo>
                <a:lnTo>
                  <a:pt x="1332788" y="755909"/>
                </a:lnTo>
                <a:lnTo>
                  <a:pt x="1355480" y="795084"/>
                </a:lnTo>
                <a:lnTo>
                  <a:pt x="1377053" y="834970"/>
                </a:lnTo>
                <a:lnTo>
                  <a:pt x="1397484" y="875546"/>
                </a:lnTo>
                <a:lnTo>
                  <a:pt x="1416753" y="916792"/>
                </a:lnTo>
                <a:lnTo>
                  <a:pt x="1434838" y="958684"/>
                </a:lnTo>
                <a:lnTo>
                  <a:pt x="1451718" y="1001203"/>
                </a:lnTo>
                <a:lnTo>
                  <a:pt x="1467370" y="1044326"/>
                </a:lnTo>
                <a:lnTo>
                  <a:pt x="1481774" y="1088032"/>
                </a:lnTo>
                <a:lnTo>
                  <a:pt x="1494908" y="1132299"/>
                </a:lnTo>
                <a:lnTo>
                  <a:pt x="1506751" y="1177106"/>
                </a:lnTo>
                <a:lnTo>
                  <a:pt x="1517281" y="1222432"/>
                </a:lnTo>
                <a:lnTo>
                  <a:pt x="1526477" y="1268255"/>
                </a:lnTo>
                <a:lnTo>
                  <a:pt x="1534316" y="1314553"/>
                </a:lnTo>
                <a:lnTo>
                  <a:pt x="1540779" y="1361305"/>
                </a:lnTo>
                <a:lnTo>
                  <a:pt x="1545843" y="1408490"/>
                </a:lnTo>
                <a:lnTo>
                  <a:pt x="1549486" y="1456086"/>
                </a:lnTo>
                <a:lnTo>
                  <a:pt x="1551688" y="1504072"/>
                </a:lnTo>
                <a:lnTo>
                  <a:pt x="1552427" y="1552426"/>
                </a:lnTo>
                <a:lnTo>
                  <a:pt x="1551688" y="1600780"/>
                </a:lnTo>
                <a:lnTo>
                  <a:pt x="1549486" y="1648766"/>
                </a:lnTo>
                <a:lnTo>
                  <a:pt x="1545843" y="1696363"/>
                </a:lnTo>
                <a:lnTo>
                  <a:pt x="1540779" y="1743548"/>
                </a:lnTo>
                <a:lnTo>
                  <a:pt x="1534316" y="1790300"/>
                </a:lnTo>
                <a:lnTo>
                  <a:pt x="1526477" y="1836598"/>
                </a:lnTo>
                <a:lnTo>
                  <a:pt x="1517281" y="1882421"/>
                </a:lnTo>
                <a:lnTo>
                  <a:pt x="1506751" y="1927747"/>
                </a:lnTo>
                <a:lnTo>
                  <a:pt x="1496316" y="1967229"/>
                </a:lnTo>
                <a:close/>
              </a:path>
            </a:pathLst>
          </a:custGeom>
          <a:solidFill>
            <a:srgbClr val="898B6B"/>
          </a:solidFill>
        </p:spPr>
        <p:txBody>
          <a:bodyPr wrap="square" lIns="0" tIns="0" rIns="0" bIns="0" rtlCol="0"/>
          <a:lstStyle/>
          <a:p>
            <a:pPr defTabSz="609630"/>
            <a:endParaRPr sz="1200" kern="0">
              <a:solidFill>
                <a:sysClr val="windowText" lastClr="000000"/>
              </a:solidFill>
            </a:endParaRPr>
          </a:p>
        </p:txBody>
      </p:sp>
      <p:grpSp>
        <p:nvGrpSpPr>
          <p:cNvPr id="5" name="object 5"/>
          <p:cNvGrpSpPr/>
          <p:nvPr/>
        </p:nvGrpSpPr>
        <p:grpSpPr>
          <a:xfrm>
            <a:off x="6895051" y="183739"/>
            <a:ext cx="2057400" cy="2057400"/>
            <a:chOff x="10342577" y="275608"/>
            <a:chExt cx="3086100" cy="3086100"/>
          </a:xfrm>
        </p:grpSpPr>
        <p:sp>
          <p:nvSpPr>
            <p:cNvPr id="6" name="object 6"/>
            <p:cNvSpPr/>
            <p:nvPr/>
          </p:nvSpPr>
          <p:spPr>
            <a:xfrm>
              <a:off x="10342577" y="275608"/>
              <a:ext cx="3086100" cy="3086100"/>
            </a:xfrm>
            <a:custGeom>
              <a:avLst/>
              <a:gdLst/>
              <a:ahLst/>
              <a:cxnLst/>
              <a:rect l="l" t="t" r="r" b="b"/>
              <a:pathLst>
                <a:path w="3086100" h="3086100">
                  <a:moveTo>
                    <a:pt x="2600324" y="3086099"/>
                  </a:moveTo>
                  <a:lnTo>
                    <a:pt x="485774" y="3086099"/>
                  </a:lnTo>
                  <a:lnTo>
                    <a:pt x="437762" y="3083722"/>
                  </a:lnTo>
                  <a:lnTo>
                    <a:pt x="390562" y="3076679"/>
                  </a:lnTo>
                  <a:lnTo>
                    <a:pt x="344494" y="3065102"/>
                  </a:lnTo>
                  <a:lnTo>
                    <a:pt x="299876" y="3049122"/>
                  </a:lnTo>
                  <a:lnTo>
                    <a:pt x="257028" y="3028872"/>
                  </a:lnTo>
                  <a:lnTo>
                    <a:pt x="216266" y="3004484"/>
                  </a:lnTo>
                  <a:lnTo>
                    <a:pt x="177911" y="2976089"/>
                  </a:lnTo>
                  <a:lnTo>
                    <a:pt x="142280" y="2943819"/>
                  </a:lnTo>
                  <a:lnTo>
                    <a:pt x="110010" y="2908188"/>
                  </a:lnTo>
                  <a:lnTo>
                    <a:pt x="81615" y="2869833"/>
                  </a:lnTo>
                  <a:lnTo>
                    <a:pt x="57227" y="2829071"/>
                  </a:lnTo>
                  <a:lnTo>
                    <a:pt x="36977" y="2786223"/>
                  </a:lnTo>
                  <a:lnTo>
                    <a:pt x="20997" y="2741605"/>
                  </a:lnTo>
                  <a:lnTo>
                    <a:pt x="9420" y="2695537"/>
                  </a:lnTo>
                  <a:lnTo>
                    <a:pt x="2377" y="2648337"/>
                  </a:lnTo>
                  <a:lnTo>
                    <a:pt x="0" y="2600325"/>
                  </a:lnTo>
                  <a:lnTo>
                    <a:pt x="0" y="485775"/>
                  </a:lnTo>
                  <a:lnTo>
                    <a:pt x="2377" y="437762"/>
                  </a:lnTo>
                  <a:lnTo>
                    <a:pt x="9420" y="390562"/>
                  </a:lnTo>
                  <a:lnTo>
                    <a:pt x="20997" y="344494"/>
                  </a:lnTo>
                  <a:lnTo>
                    <a:pt x="36977" y="299876"/>
                  </a:lnTo>
                  <a:lnTo>
                    <a:pt x="57227" y="257028"/>
                  </a:lnTo>
                  <a:lnTo>
                    <a:pt x="81615" y="216266"/>
                  </a:lnTo>
                  <a:lnTo>
                    <a:pt x="110010" y="177911"/>
                  </a:lnTo>
                  <a:lnTo>
                    <a:pt x="142280" y="142280"/>
                  </a:lnTo>
                  <a:lnTo>
                    <a:pt x="177911" y="110010"/>
                  </a:lnTo>
                  <a:lnTo>
                    <a:pt x="216266" y="81615"/>
                  </a:lnTo>
                  <a:lnTo>
                    <a:pt x="257028" y="57227"/>
                  </a:lnTo>
                  <a:lnTo>
                    <a:pt x="299876" y="36977"/>
                  </a:lnTo>
                  <a:lnTo>
                    <a:pt x="344494" y="20997"/>
                  </a:lnTo>
                  <a:lnTo>
                    <a:pt x="390562" y="9420"/>
                  </a:lnTo>
                  <a:lnTo>
                    <a:pt x="437762" y="2377"/>
                  </a:lnTo>
                  <a:lnTo>
                    <a:pt x="485774" y="0"/>
                  </a:lnTo>
                  <a:lnTo>
                    <a:pt x="2600324" y="0"/>
                  </a:lnTo>
                  <a:lnTo>
                    <a:pt x="2648338" y="2377"/>
                  </a:lnTo>
                  <a:lnTo>
                    <a:pt x="2695537" y="9420"/>
                  </a:lnTo>
                  <a:lnTo>
                    <a:pt x="2741605" y="20997"/>
                  </a:lnTo>
                  <a:lnTo>
                    <a:pt x="2786223" y="36977"/>
                  </a:lnTo>
                  <a:lnTo>
                    <a:pt x="2829072" y="57227"/>
                  </a:lnTo>
                  <a:lnTo>
                    <a:pt x="2869833" y="81615"/>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5"/>
                  </a:lnTo>
                  <a:lnTo>
                    <a:pt x="3086099" y="2600325"/>
                  </a:lnTo>
                  <a:lnTo>
                    <a:pt x="3083722" y="2648337"/>
                  </a:lnTo>
                  <a:lnTo>
                    <a:pt x="3076679" y="2695537"/>
                  </a:lnTo>
                  <a:lnTo>
                    <a:pt x="3065102" y="2741605"/>
                  </a:lnTo>
                  <a:lnTo>
                    <a:pt x="3049122" y="2786223"/>
                  </a:lnTo>
                  <a:lnTo>
                    <a:pt x="3028872" y="2829071"/>
                  </a:lnTo>
                  <a:lnTo>
                    <a:pt x="3004484" y="2869833"/>
                  </a:lnTo>
                  <a:lnTo>
                    <a:pt x="2976089" y="2908188"/>
                  </a:lnTo>
                  <a:lnTo>
                    <a:pt x="2943820" y="2943819"/>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sp>
          <p:nvSpPr>
            <p:cNvPr id="7" name="object 7"/>
            <p:cNvSpPr/>
            <p:nvPr/>
          </p:nvSpPr>
          <p:spPr>
            <a:xfrm>
              <a:off x="11377448" y="486942"/>
              <a:ext cx="1016635" cy="2654300"/>
            </a:xfrm>
            <a:custGeom>
              <a:avLst/>
              <a:gdLst/>
              <a:ahLst/>
              <a:cxnLst/>
              <a:rect l="l" t="t" r="r" b="b"/>
              <a:pathLst>
                <a:path w="1016634" h="2654300">
                  <a:moveTo>
                    <a:pt x="38925" y="549465"/>
                  </a:moveTo>
                  <a:lnTo>
                    <a:pt x="35433" y="549440"/>
                  </a:lnTo>
                  <a:lnTo>
                    <a:pt x="38925" y="549490"/>
                  </a:lnTo>
                  <a:close/>
                </a:path>
                <a:path w="1016634" h="2654300">
                  <a:moveTo>
                    <a:pt x="1016241" y="749300"/>
                  </a:moveTo>
                  <a:lnTo>
                    <a:pt x="1015834" y="749300"/>
                  </a:lnTo>
                  <a:lnTo>
                    <a:pt x="1013968" y="736600"/>
                  </a:lnTo>
                  <a:lnTo>
                    <a:pt x="1009573" y="711200"/>
                  </a:lnTo>
                  <a:lnTo>
                    <a:pt x="1001572" y="685800"/>
                  </a:lnTo>
                  <a:lnTo>
                    <a:pt x="995832" y="673100"/>
                  </a:lnTo>
                  <a:lnTo>
                    <a:pt x="993902" y="669671"/>
                  </a:lnTo>
                  <a:lnTo>
                    <a:pt x="993902" y="749300"/>
                  </a:lnTo>
                  <a:lnTo>
                    <a:pt x="993114" y="800100"/>
                  </a:lnTo>
                  <a:lnTo>
                    <a:pt x="992644" y="838200"/>
                  </a:lnTo>
                  <a:lnTo>
                    <a:pt x="992149" y="889000"/>
                  </a:lnTo>
                  <a:lnTo>
                    <a:pt x="991679" y="952500"/>
                  </a:lnTo>
                  <a:lnTo>
                    <a:pt x="991235" y="1041400"/>
                  </a:lnTo>
                  <a:lnTo>
                    <a:pt x="991006" y="1117600"/>
                  </a:lnTo>
                  <a:lnTo>
                    <a:pt x="990904" y="1206500"/>
                  </a:lnTo>
                  <a:lnTo>
                    <a:pt x="989279" y="1244600"/>
                  </a:lnTo>
                  <a:lnTo>
                    <a:pt x="977277" y="1295400"/>
                  </a:lnTo>
                  <a:lnTo>
                    <a:pt x="949261" y="1358900"/>
                  </a:lnTo>
                  <a:lnTo>
                    <a:pt x="902449" y="1397000"/>
                  </a:lnTo>
                  <a:lnTo>
                    <a:pt x="819670" y="1435100"/>
                  </a:lnTo>
                  <a:lnTo>
                    <a:pt x="715962" y="1435100"/>
                  </a:lnTo>
                  <a:lnTo>
                    <a:pt x="708520" y="1435100"/>
                  </a:lnTo>
                  <a:lnTo>
                    <a:pt x="708520" y="2400300"/>
                  </a:lnTo>
                  <a:lnTo>
                    <a:pt x="707758" y="2438400"/>
                  </a:lnTo>
                  <a:lnTo>
                    <a:pt x="705535" y="2476500"/>
                  </a:lnTo>
                  <a:lnTo>
                    <a:pt x="701941" y="2501900"/>
                  </a:lnTo>
                  <a:lnTo>
                    <a:pt x="697052" y="2527300"/>
                  </a:lnTo>
                  <a:lnTo>
                    <a:pt x="692607" y="2552700"/>
                  </a:lnTo>
                  <a:lnTo>
                    <a:pt x="688670" y="2562580"/>
                  </a:lnTo>
                  <a:lnTo>
                    <a:pt x="693140" y="2534450"/>
                  </a:lnTo>
                  <a:lnTo>
                    <a:pt x="697407" y="2443454"/>
                  </a:lnTo>
                  <a:lnTo>
                    <a:pt x="696607" y="2399423"/>
                  </a:lnTo>
                  <a:lnTo>
                    <a:pt x="694690" y="2353703"/>
                  </a:lnTo>
                  <a:lnTo>
                    <a:pt x="693267" y="2317038"/>
                  </a:lnTo>
                  <a:lnTo>
                    <a:pt x="691730" y="2274265"/>
                  </a:lnTo>
                  <a:lnTo>
                    <a:pt x="690105" y="2226208"/>
                  </a:lnTo>
                  <a:lnTo>
                    <a:pt x="688416" y="2173655"/>
                  </a:lnTo>
                  <a:lnTo>
                    <a:pt x="686663" y="2117433"/>
                  </a:lnTo>
                  <a:lnTo>
                    <a:pt x="684872" y="2058339"/>
                  </a:lnTo>
                  <a:lnTo>
                    <a:pt x="683069" y="1997176"/>
                  </a:lnTo>
                  <a:lnTo>
                    <a:pt x="681266" y="1934768"/>
                  </a:lnTo>
                  <a:lnTo>
                    <a:pt x="679450" y="1871078"/>
                  </a:lnTo>
                  <a:lnTo>
                    <a:pt x="676148" y="1752346"/>
                  </a:lnTo>
                  <a:lnTo>
                    <a:pt x="673252" y="1646110"/>
                  </a:lnTo>
                  <a:lnTo>
                    <a:pt x="669582" y="1508582"/>
                  </a:lnTo>
                  <a:lnTo>
                    <a:pt x="667613" y="1432941"/>
                  </a:lnTo>
                  <a:lnTo>
                    <a:pt x="667613" y="2443454"/>
                  </a:lnTo>
                  <a:lnTo>
                    <a:pt x="666483" y="2491676"/>
                  </a:lnTo>
                  <a:lnTo>
                    <a:pt x="663511" y="2531389"/>
                  </a:lnTo>
                  <a:lnTo>
                    <a:pt x="654608" y="2587650"/>
                  </a:lnTo>
                  <a:lnTo>
                    <a:pt x="646303" y="2616200"/>
                  </a:lnTo>
                  <a:lnTo>
                    <a:pt x="642848" y="2616200"/>
                  </a:lnTo>
                  <a:lnTo>
                    <a:pt x="629793" y="2628900"/>
                  </a:lnTo>
                  <a:lnTo>
                    <a:pt x="611378" y="2628900"/>
                  </a:lnTo>
                  <a:lnTo>
                    <a:pt x="581596" y="1428978"/>
                  </a:lnTo>
                  <a:lnTo>
                    <a:pt x="581596" y="2628900"/>
                  </a:lnTo>
                  <a:lnTo>
                    <a:pt x="559092" y="2628900"/>
                  </a:lnTo>
                  <a:lnTo>
                    <a:pt x="527685" y="2628900"/>
                  </a:lnTo>
                  <a:lnTo>
                    <a:pt x="497751" y="923493"/>
                  </a:lnTo>
                  <a:lnTo>
                    <a:pt x="497751" y="2620822"/>
                  </a:lnTo>
                  <a:lnTo>
                    <a:pt x="490512" y="2616200"/>
                  </a:lnTo>
                  <a:lnTo>
                    <a:pt x="473202" y="2616200"/>
                  </a:lnTo>
                  <a:lnTo>
                    <a:pt x="451764" y="2574086"/>
                  </a:lnTo>
                  <a:lnTo>
                    <a:pt x="443547" y="2523096"/>
                  </a:lnTo>
                  <a:lnTo>
                    <a:pt x="439839" y="2442413"/>
                  </a:lnTo>
                  <a:lnTo>
                    <a:pt x="439928" y="2428329"/>
                  </a:lnTo>
                  <a:lnTo>
                    <a:pt x="440182" y="2414308"/>
                  </a:lnTo>
                  <a:lnTo>
                    <a:pt x="440639" y="2399233"/>
                  </a:lnTo>
                  <a:lnTo>
                    <a:pt x="441286" y="2383459"/>
                  </a:lnTo>
                  <a:lnTo>
                    <a:pt x="442582" y="2353716"/>
                  </a:lnTo>
                  <a:lnTo>
                    <a:pt x="443928" y="2318880"/>
                  </a:lnTo>
                  <a:lnTo>
                    <a:pt x="445528" y="2274265"/>
                  </a:lnTo>
                  <a:lnTo>
                    <a:pt x="447154" y="2226208"/>
                  </a:lnTo>
                  <a:lnTo>
                    <a:pt x="448843" y="2173655"/>
                  </a:lnTo>
                  <a:lnTo>
                    <a:pt x="450596" y="2117433"/>
                  </a:lnTo>
                  <a:lnTo>
                    <a:pt x="452374" y="2058339"/>
                  </a:lnTo>
                  <a:lnTo>
                    <a:pt x="454177" y="1997176"/>
                  </a:lnTo>
                  <a:lnTo>
                    <a:pt x="455980" y="1934768"/>
                  </a:lnTo>
                  <a:lnTo>
                    <a:pt x="457758" y="1871916"/>
                  </a:lnTo>
                  <a:lnTo>
                    <a:pt x="459511" y="1809419"/>
                  </a:lnTo>
                  <a:lnTo>
                    <a:pt x="461810" y="1725587"/>
                  </a:lnTo>
                  <a:lnTo>
                    <a:pt x="463969" y="1646110"/>
                  </a:lnTo>
                  <a:lnTo>
                    <a:pt x="467639" y="1508582"/>
                  </a:lnTo>
                  <a:lnTo>
                    <a:pt x="471017" y="1378483"/>
                  </a:lnTo>
                  <a:lnTo>
                    <a:pt x="471017" y="1377556"/>
                  </a:lnTo>
                  <a:lnTo>
                    <a:pt x="440969" y="525665"/>
                  </a:lnTo>
                  <a:lnTo>
                    <a:pt x="440969" y="1387551"/>
                  </a:lnTo>
                  <a:lnTo>
                    <a:pt x="440626" y="1400848"/>
                  </a:lnTo>
                  <a:lnTo>
                    <a:pt x="439813" y="1401102"/>
                  </a:lnTo>
                  <a:lnTo>
                    <a:pt x="439813" y="1432128"/>
                  </a:lnTo>
                  <a:lnTo>
                    <a:pt x="438518" y="1482445"/>
                  </a:lnTo>
                  <a:lnTo>
                    <a:pt x="434416" y="1636839"/>
                  </a:lnTo>
                  <a:lnTo>
                    <a:pt x="431012" y="1761629"/>
                  </a:lnTo>
                  <a:lnTo>
                    <a:pt x="429183" y="1827606"/>
                  </a:lnTo>
                  <a:lnTo>
                    <a:pt x="425577" y="1955050"/>
                  </a:lnTo>
                  <a:lnTo>
                    <a:pt x="423837" y="2014804"/>
                  </a:lnTo>
                  <a:lnTo>
                    <a:pt x="422109" y="2073186"/>
                  </a:lnTo>
                  <a:lnTo>
                    <a:pt x="420408" y="2129447"/>
                  </a:lnTo>
                  <a:lnTo>
                    <a:pt x="418731" y="2182876"/>
                  </a:lnTo>
                  <a:lnTo>
                    <a:pt x="417118" y="2232749"/>
                  </a:lnTo>
                  <a:lnTo>
                    <a:pt x="415582" y="2278316"/>
                  </a:lnTo>
                  <a:lnTo>
                    <a:pt x="414185" y="2317038"/>
                  </a:lnTo>
                  <a:lnTo>
                    <a:pt x="411530" y="2382062"/>
                  </a:lnTo>
                  <a:lnTo>
                    <a:pt x="410870" y="2398179"/>
                  </a:lnTo>
                  <a:lnTo>
                    <a:pt x="410400" y="2413597"/>
                  </a:lnTo>
                  <a:lnTo>
                    <a:pt x="410133" y="2428329"/>
                  </a:lnTo>
                  <a:lnTo>
                    <a:pt x="410044" y="2442413"/>
                  </a:lnTo>
                  <a:lnTo>
                    <a:pt x="411226" y="2490965"/>
                  </a:lnTo>
                  <a:lnTo>
                    <a:pt x="414375" y="2530589"/>
                  </a:lnTo>
                  <a:lnTo>
                    <a:pt x="415594" y="2539149"/>
                  </a:lnTo>
                  <a:lnTo>
                    <a:pt x="409651" y="2527300"/>
                  </a:lnTo>
                  <a:lnTo>
                    <a:pt x="404926" y="2501900"/>
                  </a:lnTo>
                  <a:lnTo>
                    <a:pt x="401624" y="2489200"/>
                  </a:lnTo>
                  <a:lnTo>
                    <a:pt x="399554" y="2476500"/>
                  </a:lnTo>
                  <a:lnTo>
                    <a:pt x="398487" y="2451100"/>
                  </a:lnTo>
                  <a:lnTo>
                    <a:pt x="398170" y="2438400"/>
                  </a:lnTo>
                  <a:lnTo>
                    <a:pt x="398170" y="2425700"/>
                  </a:lnTo>
                  <a:lnTo>
                    <a:pt x="398640" y="2425700"/>
                  </a:lnTo>
                  <a:lnTo>
                    <a:pt x="399338" y="2413000"/>
                  </a:lnTo>
                  <a:lnTo>
                    <a:pt x="400100" y="2413000"/>
                  </a:lnTo>
                  <a:lnTo>
                    <a:pt x="418604" y="1447800"/>
                  </a:lnTo>
                  <a:lnTo>
                    <a:pt x="418795" y="1437703"/>
                  </a:lnTo>
                  <a:lnTo>
                    <a:pt x="427266" y="1435620"/>
                  </a:lnTo>
                  <a:lnTo>
                    <a:pt x="439813" y="1432128"/>
                  </a:lnTo>
                  <a:lnTo>
                    <a:pt x="439813" y="1401102"/>
                  </a:lnTo>
                  <a:lnTo>
                    <a:pt x="433184" y="1403083"/>
                  </a:lnTo>
                  <a:lnTo>
                    <a:pt x="416687" y="1407591"/>
                  </a:lnTo>
                  <a:lnTo>
                    <a:pt x="395732" y="1412608"/>
                  </a:lnTo>
                  <a:lnTo>
                    <a:pt x="379069" y="1415973"/>
                  </a:lnTo>
                  <a:lnTo>
                    <a:pt x="379069" y="1446415"/>
                  </a:lnTo>
                  <a:lnTo>
                    <a:pt x="351358" y="1460500"/>
                  </a:lnTo>
                  <a:lnTo>
                    <a:pt x="306362" y="1485900"/>
                  </a:lnTo>
                  <a:lnTo>
                    <a:pt x="266192" y="1498600"/>
                  </a:lnTo>
                  <a:lnTo>
                    <a:pt x="197472" y="1498600"/>
                  </a:lnTo>
                  <a:lnTo>
                    <a:pt x="182486" y="1485900"/>
                  </a:lnTo>
                  <a:lnTo>
                    <a:pt x="168452" y="1485900"/>
                  </a:lnTo>
                  <a:lnTo>
                    <a:pt x="125882" y="1447800"/>
                  </a:lnTo>
                  <a:lnTo>
                    <a:pt x="92456" y="1397000"/>
                  </a:lnTo>
                  <a:lnTo>
                    <a:pt x="72961" y="1346200"/>
                  </a:lnTo>
                  <a:lnTo>
                    <a:pt x="57848" y="1295400"/>
                  </a:lnTo>
                  <a:lnTo>
                    <a:pt x="46609" y="1244600"/>
                  </a:lnTo>
                  <a:lnTo>
                    <a:pt x="38722" y="1181100"/>
                  </a:lnTo>
                  <a:lnTo>
                    <a:pt x="33629" y="1130300"/>
                  </a:lnTo>
                  <a:lnTo>
                    <a:pt x="30734" y="1079500"/>
                  </a:lnTo>
                  <a:lnTo>
                    <a:pt x="29438" y="1028700"/>
                  </a:lnTo>
                  <a:lnTo>
                    <a:pt x="29324" y="992911"/>
                  </a:lnTo>
                  <a:lnTo>
                    <a:pt x="29591" y="995845"/>
                  </a:lnTo>
                  <a:lnTo>
                    <a:pt x="34632" y="1045603"/>
                  </a:lnTo>
                  <a:lnTo>
                    <a:pt x="40436" y="1094676"/>
                  </a:lnTo>
                  <a:lnTo>
                    <a:pt x="47066" y="1142479"/>
                  </a:lnTo>
                  <a:lnTo>
                    <a:pt x="54597" y="1188453"/>
                  </a:lnTo>
                  <a:lnTo>
                    <a:pt x="63080" y="1232027"/>
                  </a:lnTo>
                  <a:lnTo>
                    <a:pt x="77749" y="1291691"/>
                  </a:lnTo>
                  <a:lnTo>
                    <a:pt x="95084" y="1342986"/>
                  </a:lnTo>
                  <a:lnTo>
                    <a:pt x="115646" y="1384300"/>
                  </a:lnTo>
                  <a:lnTo>
                    <a:pt x="140982" y="1414043"/>
                  </a:lnTo>
                  <a:lnTo>
                    <a:pt x="173316" y="1434198"/>
                  </a:lnTo>
                  <a:lnTo>
                    <a:pt x="227812" y="1451025"/>
                  </a:lnTo>
                  <a:lnTo>
                    <a:pt x="265950" y="1455254"/>
                  </a:lnTo>
                  <a:lnTo>
                    <a:pt x="285064" y="1455724"/>
                  </a:lnTo>
                  <a:lnTo>
                    <a:pt x="318147" y="1454454"/>
                  </a:lnTo>
                  <a:lnTo>
                    <a:pt x="349808" y="1451114"/>
                  </a:lnTo>
                  <a:lnTo>
                    <a:pt x="379069" y="1446415"/>
                  </a:lnTo>
                  <a:lnTo>
                    <a:pt x="379069" y="1415973"/>
                  </a:lnTo>
                  <a:lnTo>
                    <a:pt x="371208" y="1417561"/>
                  </a:lnTo>
                  <a:lnTo>
                    <a:pt x="343992" y="1421828"/>
                  </a:lnTo>
                  <a:lnTo>
                    <a:pt x="314972" y="1424813"/>
                  </a:lnTo>
                  <a:lnTo>
                    <a:pt x="285064" y="1425943"/>
                  </a:lnTo>
                  <a:lnTo>
                    <a:pt x="267449" y="1425498"/>
                  </a:lnTo>
                  <a:lnTo>
                    <a:pt x="216573" y="1418145"/>
                  </a:lnTo>
                  <a:lnTo>
                    <a:pt x="172313" y="1399806"/>
                  </a:lnTo>
                  <a:lnTo>
                    <a:pt x="140843" y="1368425"/>
                  </a:lnTo>
                  <a:lnTo>
                    <a:pt x="115824" y="1313472"/>
                  </a:lnTo>
                  <a:lnTo>
                    <a:pt x="96304" y="1244244"/>
                  </a:lnTo>
                  <a:lnTo>
                    <a:pt x="85725" y="1193114"/>
                  </a:lnTo>
                  <a:lnTo>
                    <a:pt x="76504" y="1137856"/>
                  </a:lnTo>
                  <a:lnTo>
                    <a:pt x="68580" y="1079614"/>
                  </a:lnTo>
                  <a:lnTo>
                    <a:pt x="60617" y="1007338"/>
                  </a:lnTo>
                  <a:lnTo>
                    <a:pt x="54229" y="934313"/>
                  </a:lnTo>
                  <a:lnTo>
                    <a:pt x="49237" y="862431"/>
                  </a:lnTo>
                  <a:lnTo>
                    <a:pt x="45466" y="793559"/>
                  </a:lnTo>
                  <a:lnTo>
                    <a:pt x="42748" y="729615"/>
                  </a:lnTo>
                  <a:lnTo>
                    <a:pt x="40906" y="672452"/>
                  </a:lnTo>
                  <a:lnTo>
                    <a:pt x="39776" y="623989"/>
                  </a:lnTo>
                  <a:lnTo>
                    <a:pt x="38963" y="561162"/>
                  </a:lnTo>
                  <a:lnTo>
                    <a:pt x="38925" y="549490"/>
                  </a:lnTo>
                  <a:lnTo>
                    <a:pt x="34937" y="549440"/>
                  </a:lnTo>
                  <a:lnTo>
                    <a:pt x="33172" y="549414"/>
                  </a:lnTo>
                  <a:lnTo>
                    <a:pt x="33616" y="546100"/>
                  </a:lnTo>
                  <a:lnTo>
                    <a:pt x="44196" y="495300"/>
                  </a:lnTo>
                  <a:lnTo>
                    <a:pt x="44310" y="495084"/>
                  </a:lnTo>
                  <a:lnTo>
                    <a:pt x="48348" y="589788"/>
                  </a:lnTo>
                  <a:lnTo>
                    <a:pt x="52247" y="674281"/>
                  </a:lnTo>
                  <a:lnTo>
                    <a:pt x="57467" y="778865"/>
                  </a:lnTo>
                  <a:lnTo>
                    <a:pt x="60286" y="830948"/>
                  </a:lnTo>
                  <a:lnTo>
                    <a:pt x="63182" y="880999"/>
                  </a:lnTo>
                  <a:lnTo>
                    <a:pt x="66128" y="927595"/>
                  </a:lnTo>
                  <a:lnTo>
                    <a:pt x="69088" y="969314"/>
                  </a:lnTo>
                  <a:lnTo>
                    <a:pt x="72009" y="1004722"/>
                  </a:lnTo>
                  <a:lnTo>
                    <a:pt x="73837" y="1030300"/>
                  </a:lnTo>
                  <a:lnTo>
                    <a:pt x="76835" y="1088148"/>
                  </a:lnTo>
                  <a:lnTo>
                    <a:pt x="81368" y="1143190"/>
                  </a:lnTo>
                  <a:lnTo>
                    <a:pt x="88912" y="1191399"/>
                  </a:lnTo>
                  <a:lnTo>
                    <a:pt x="99898" y="1232966"/>
                  </a:lnTo>
                  <a:lnTo>
                    <a:pt x="122250" y="1283550"/>
                  </a:lnTo>
                  <a:lnTo>
                    <a:pt x="156616" y="1328229"/>
                  </a:lnTo>
                  <a:lnTo>
                    <a:pt x="205282" y="1363560"/>
                  </a:lnTo>
                  <a:lnTo>
                    <a:pt x="269887" y="1386395"/>
                  </a:lnTo>
                  <a:lnTo>
                    <a:pt x="308648" y="1392402"/>
                  </a:lnTo>
                  <a:lnTo>
                    <a:pt x="352031" y="1394460"/>
                  </a:lnTo>
                  <a:lnTo>
                    <a:pt x="376720" y="1393875"/>
                  </a:lnTo>
                  <a:lnTo>
                    <a:pt x="402805" y="1392097"/>
                  </a:lnTo>
                  <a:lnTo>
                    <a:pt x="430352" y="1389100"/>
                  </a:lnTo>
                  <a:lnTo>
                    <a:pt x="440969" y="1387551"/>
                  </a:lnTo>
                  <a:lnTo>
                    <a:pt x="440969" y="525665"/>
                  </a:lnTo>
                  <a:lnTo>
                    <a:pt x="440486" y="511975"/>
                  </a:lnTo>
                  <a:lnTo>
                    <a:pt x="440486" y="1357515"/>
                  </a:lnTo>
                  <a:lnTo>
                    <a:pt x="426542" y="1359547"/>
                  </a:lnTo>
                  <a:lnTo>
                    <a:pt x="400164" y="1362417"/>
                  </a:lnTo>
                  <a:lnTo>
                    <a:pt x="375335" y="1364119"/>
                  </a:lnTo>
                  <a:lnTo>
                    <a:pt x="352031" y="1364665"/>
                  </a:lnTo>
                  <a:lnTo>
                    <a:pt x="304660" y="1361998"/>
                  </a:lnTo>
                  <a:lnTo>
                    <a:pt x="264299" y="1354429"/>
                  </a:lnTo>
                  <a:lnTo>
                    <a:pt x="202082" y="1327048"/>
                  </a:lnTo>
                  <a:lnTo>
                    <a:pt x="168821" y="1297774"/>
                  </a:lnTo>
                  <a:lnTo>
                    <a:pt x="144538" y="1262316"/>
                  </a:lnTo>
                  <a:lnTo>
                    <a:pt x="121450" y="1200200"/>
                  </a:lnTo>
                  <a:lnTo>
                    <a:pt x="110121" y="1132116"/>
                  </a:lnTo>
                  <a:lnTo>
                    <a:pt x="105397" y="1064145"/>
                  </a:lnTo>
                  <a:lnTo>
                    <a:pt x="103771" y="1032014"/>
                  </a:lnTo>
                  <a:lnTo>
                    <a:pt x="101650" y="1002017"/>
                  </a:lnTo>
                  <a:lnTo>
                    <a:pt x="98285" y="960539"/>
                  </a:lnTo>
                  <a:lnTo>
                    <a:pt x="94869" y="910640"/>
                  </a:lnTo>
                  <a:lnTo>
                    <a:pt x="91465" y="854621"/>
                  </a:lnTo>
                  <a:lnTo>
                    <a:pt x="88138" y="794778"/>
                  </a:lnTo>
                  <a:lnTo>
                    <a:pt x="84975" y="733425"/>
                  </a:lnTo>
                  <a:lnTo>
                    <a:pt x="78105" y="588454"/>
                  </a:lnTo>
                  <a:lnTo>
                    <a:pt x="72351" y="453567"/>
                  </a:lnTo>
                  <a:lnTo>
                    <a:pt x="64782" y="453872"/>
                  </a:lnTo>
                  <a:lnTo>
                    <a:pt x="68148" y="444500"/>
                  </a:lnTo>
                  <a:lnTo>
                    <a:pt x="78346" y="444500"/>
                  </a:lnTo>
                  <a:lnTo>
                    <a:pt x="83870" y="431800"/>
                  </a:lnTo>
                  <a:lnTo>
                    <a:pt x="89687" y="431800"/>
                  </a:lnTo>
                  <a:lnTo>
                    <a:pt x="95821" y="419100"/>
                  </a:lnTo>
                  <a:lnTo>
                    <a:pt x="131559" y="419100"/>
                  </a:lnTo>
                  <a:lnTo>
                    <a:pt x="128295" y="528078"/>
                  </a:lnTo>
                  <a:lnTo>
                    <a:pt x="125374" y="644067"/>
                  </a:lnTo>
                  <a:lnTo>
                    <a:pt x="124028" y="708456"/>
                  </a:lnTo>
                  <a:lnTo>
                    <a:pt x="122923" y="773976"/>
                  </a:lnTo>
                  <a:lnTo>
                    <a:pt x="122174" y="838288"/>
                  </a:lnTo>
                  <a:lnTo>
                    <a:pt x="121907" y="899058"/>
                  </a:lnTo>
                  <a:lnTo>
                    <a:pt x="121970" y="926947"/>
                  </a:lnTo>
                  <a:lnTo>
                    <a:pt x="122618" y="977379"/>
                  </a:lnTo>
                  <a:lnTo>
                    <a:pt x="124980" y="1030859"/>
                  </a:lnTo>
                  <a:lnTo>
                    <a:pt x="133337" y="1093685"/>
                  </a:lnTo>
                  <a:lnTo>
                    <a:pt x="154698" y="1169352"/>
                  </a:lnTo>
                  <a:lnTo>
                    <a:pt x="174485" y="1211643"/>
                  </a:lnTo>
                  <a:lnTo>
                    <a:pt x="200266" y="1250327"/>
                  </a:lnTo>
                  <a:lnTo>
                    <a:pt x="232664" y="1284363"/>
                  </a:lnTo>
                  <a:lnTo>
                    <a:pt x="272186" y="1312583"/>
                  </a:lnTo>
                  <a:lnTo>
                    <a:pt x="319100" y="1333855"/>
                  </a:lnTo>
                  <a:lnTo>
                    <a:pt x="373672" y="1347216"/>
                  </a:lnTo>
                  <a:lnTo>
                    <a:pt x="436232" y="1351838"/>
                  </a:lnTo>
                  <a:lnTo>
                    <a:pt x="440283" y="1351826"/>
                  </a:lnTo>
                  <a:lnTo>
                    <a:pt x="440486" y="1357515"/>
                  </a:lnTo>
                  <a:lnTo>
                    <a:pt x="440486" y="511975"/>
                  </a:lnTo>
                  <a:lnTo>
                    <a:pt x="439229" y="476338"/>
                  </a:lnTo>
                  <a:lnTo>
                    <a:pt x="439229" y="1322044"/>
                  </a:lnTo>
                  <a:lnTo>
                    <a:pt x="436232" y="1322044"/>
                  </a:lnTo>
                  <a:lnTo>
                    <a:pt x="396608" y="1320126"/>
                  </a:lnTo>
                  <a:lnTo>
                    <a:pt x="328815" y="1305699"/>
                  </a:lnTo>
                  <a:lnTo>
                    <a:pt x="280822" y="1283042"/>
                  </a:lnTo>
                  <a:lnTo>
                    <a:pt x="247078" y="1257249"/>
                  </a:lnTo>
                  <a:lnTo>
                    <a:pt x="213334" y="1217866"/>
                  </a:lnTo>
                  <a:lnTo>
                    <a:pt x="183794" y="1161910"/>
                  </a:lnTo>
                  <a:lnTo>
                    <a:pt x="164833" y="1099032"/>
                  </a:lnTo>
                  <a:lnTo>
                    <a:pt x="154978" y="1032256"/>
                  </a:lnTo>
                  <a:lnTo>
                    <a:pt x="152400" y="976757"/>
                  </a:lnTo>
                  <a:lnTo>
                    <a:pt x="151765" y="926782"/>
                  </a:lnTo>
                  <a:lnTo>
                    <a:pt x="151701" y="899058"/>
                  </a:lnTo>
                  <a:lnTo>
                    <a:pt x="151892" y="848931"/>
                  </a:lnTo>
                  <a:lnTo>
                    <a:pt x="152425" y="796036"/>
                  </a:lnTo>
                  <a:lnTo>
                    <a:pt x="153238" y="741718"/>
                  </a:lnTo>
                  <a:lnTo>
                    <a:pt x="154254" y="687362"/>
                  </a:lnTo>
                  <a:lnTo>
                    <a:pt x="156616" y="583907"/>
                  </a:lnTo>
                  <a:lnTo>
                    <a:pt x="161391" y="419100"/>
                  </a:lnTo>
                  <a:lnTo>
                    <a:pt x="163969" y="419100"/>
                  </a:lnTo>
                  <a:lnTo>
                    <a:pt x="175831" y="431800"/>
                  </a:lnTo>
                  <a:lnTo>
                    <a:pt x="186817" y="444500"/>
                  </a:lnTo>
                  <a:lnTo>
                    <a:pt x="196888" y="457200"/>
                  </a:lnTo>
                  <a:lnTo>
                    <a:pt x="206006" y="482600"/>
                  </a:lnTo>
                  <a:lnTo>
                    <a:pt x="217855" y="508000"/>
                  </a:lnTo>
                  <a:lnTo>
                    <a:pt x="218490" y="510552"/>
                  </a:lnTo>
                  <a:lnTo>
                    <a:pt x="214299" y="510222"/>
                  </a:lnTo>
                  <a:lnTo>
                    <a:pt x="211709" y="547077"/>
                  </a:lnTo>
                  <a:lnTo>
                    <a:pt x="209054" y="588733"/>
                  </a:lnTo>
                  <a:lnTo>
                    <a:pt x="206006" y="642073"/>
                  </a:lnTo>
                  <a:lnTo>
                    <a:pt x="202958" y="704202"/>
                  </a:lnTo>
                  <a:lnTo>
                    <a:pt x="200304" y="772287"/>
                  </a:lnTo>
                  <a:lnTo>
                    <a:pt x="198412" y="843432"/>
                  </a:lnTo>
                  <a:lnTo>
                    <a:pt x="197688" y="914793"/>
                  </a:lnTo>
                  <a:lnTo>
                    <a:pt x="197942" y="952576"/>
                  </a:lnTo>
                  <a:lnTo>
                    <a:pt x="200050" y="1024051"/>
                  </a:lnTo>
                  <a:lnTo>
                    <a:pt x="205270" y="1089914"/>
                  </a:lnTo>
                  <a:lnTo>
                    <a:pt x="215620" y="1147622"/>
                  </a:lnTo>
                  <a:lnTo>
                    <a:pt x="229222" y="1189647"/>
                  </a:lnTo>
                  <a:lnTo>
                    <a:pt x="253441" y="1233043"/>
                  </a:lnTo>
                  <a:lnTo>
                    <a:pt x="285521" y="1264920"/>
                  </a:lnTo>
                  <a:lnTo>
                    <a:pt x="324777" y="1285735"/>
                  </a:lnTo>
                  <a:lnTo>
                    <a:pt x="370192" y="1296797"/>
                  </a:lnTo>
                  <a:lnTo>
                    <a:pt x="421513" y="1300073"/>
                  </a:lnTo>
                  <a:lnTo>
                    <a:pt x="437159" y="1299845"/>
                  </a:lnTo>
                  <a:lnTo>
                    <a:pt x="438454" y="1299794"/>
                  </a:lnTo>
                  <a:lnTo>
                    <a:pt x="439229" y="1322044"/>
                  </a:lnTo>
                  <a:lnTo>
                    <a:pt x="439229" y="476338"/>
                  </a:lnTo>
                  <a:lnTo>
                    <a:pt x="437400" y="424484"/>
                  </a:lnTo>
                  <a:lnTo>
                    <a:pt x="437400" y="1270025"/>
                  </a:lnTo>
                  <a:lnTo>
                    <a:pt x="436283" y="1270063"/>
                  </a:lnTo>
                  <a:lnTo>
                    <a:pt x="379234" y="1267942"/>
                  </a:lnTo>
                  <a:lnTo>
                    <a:pt x="333298" y="1257058"/>
                  </a:lnTo>
                  <a:lnTo>
                    <a:pt x="340220" y="1244600"/>
                  </a:lnTo>
                  <a:lnTo>
                    <a:pt x="362915" y="1244600"/>
                  </a:lnTo>
                  <a:lnTo>
                    <a:pt x="371284" y="1231900"/>
                  </a:lnTo>
                  <a:lnTo>
                    <a:pt x="378358" y="1219200"/>
                  </a:lnTo>
                  <a:lnTo>
                    <a:pt x="384302" y="1206500"/>
                  </a:lnTo>
                  <a:lnTo>
                    <a:pt x="391464" y="1193800"/>
                  </a:lnTo>
                  <a:lnTo>
                    <a:pt x="396862" y="1181100"/>
                  </a:lnTo>
                  <a:lnTo>
                    <a:pt x="400786" y="1155700"/>
                  </a:lnTo>
                  <a:lnTo>
                    <a:pt x="403529" y="1143000"/>
                  </a:lnTo>
                  <a:lnTo>
                    <a:pt x="405282" y="1130300"/>
                  </a:lnTo>
                  <a:lnTo>
                    <a:pt x="406285" y="1104900"/>
                  </a:lnTo>
                  <a:lnTo>
                    <a:pt x="406742" y="1092200"/>
                  </a:lnTo>
                  <a:lnTo>
                    <a:pt x="406844" y="1079500"/>
                  </a:lnTo>
                  <a:lnTo>
                    <a:pt x="406819" y="402310"/>
                  </a:lnTo>
                  <a:lnTo>
                    <a:pt x="437400" y="1270025"/>
                  </a:lnTo>
                  <a:lnTo>
                    <a:pt x="437400" y="424484"/>
                  </a:lnTo>
                  <a:lnTo>
                    <a:pt x="425373" y="83502"/>
                  </a:lnTo>
                  <a:lnTo>
                    <a:pt x="420954" y="83667"/>
                  </a:lnTo>
                  <a:lnTo>
                    <a:pt x="422973" y="76200"/>
                  </a:lnTo>
                  <a:lnTo>
                    <a:pt x="432422" y="63500"/>
                  </a:lnTo>
                  <a:lnTo>
                    <a:pt x="438175" y="50800"/>
                  </a:lnTo>
                  <a:lnTo>
                    <a:pt x="444639" y="38100"/>
                  </a:lnTo>
                  <a:lnTo>
                    <a:pt x="451866" y="38100"/>
                  </a:lnTo>
                  <a:lnTo>
                    <a:pt x="452399" y="37261"/>
                  </a:lnTo>
                  <a:lnTo>
                    <a:pt x="497751" y="2620822"/>
                  </a:lnTo>
                  <a:lnTo>
                    <a:pt x="497751" y="923493"/>
                  </a:lnTo>
                  <a:lnTo>
                    <a:pt x="481926" y="21945"/>
                  </a:lnTo>
                  <a:lnTo>
                    <a:pt x="490093" y="12700"/>
                  </a:lnTo>
                  <a:lnTo>
                    <a:pt x="519887" y="12700"/>
                  </a:lnTo>
                  <a:lnTo>
                    <a:pt x="523557" y="15836"/>
                  </a:lnTo>
                  <a:lnTo>
                    <a:pt x="516763" y="16002"/>
                  </a:lnTo>
                  <a:lnTo>
                    <a:pt x="581596" y="2628900"/>
                  </a:lnTo>
                  <a:lnTo>
                    <a:pt x="581596" y="1428978"/>
                  </a:lnTo>
                  <a:lnTo>
                    <a:pt x="546760" y="25400"/>
                  </a:lnTo>
                  <a:lnTo>
                    <a:pt x="547700" y="25400"/>
                  </a:lnTo>
                  <a:lnTo>
                    <a:pt x="558977" y="38100"/>
                  </a:lnTo>
                  <a:lnTo>
                    <a:pt x="566445" y="50800"/>
                  </a:lnTo>
                  <a:lnTo>
                    <a:pt x="573125" y="50800"/>
                  </a:lnTo>
                  <a:lnTo>
                    <a:pt x="579043" y="63500"/>
                  </a:lnTo>
                  <a:lnTo>
                    <a:pt x="584225" y="76200"/>
                  </a:lnTo>
                  <a:lnTo>
                    <a:pt x="586524" y="80733"/>
                  </a:lnTo>
                  <a:lnTo>
                    <a:pt x="582168" y="80911"/>
                  </a:lnTo>
                  <a:lnTo>
                    <a:pt x="636409" y="1378305"/>
                  </a:lnTo>
                  <a:lnTo>
                    <a:pt x="636397" y="1378572"/>
                  </a:lnTo>
                  <a:lnTo>
                    <a:pt x="639762" y="1507807"/>
                  </a:lnTo>
                  <a:lnTo>
                    <a:pt x="643432" y="1645310"/>
                  </a:lnTo>
                  <a:lnTo>
                    <a:pt x="645604" y="1725587"/>
                  </a:lnTo>
                  <a:lnTo>
                    <a:pt x="647915" y="1809419"/>
                  </a:lnTo>
                  <a:lnTo>
                    <a:pt x="651433" y="1933905"/>
                  </a:lnTo>
                  <a:lnTo>
                    <a:pt x="653237" y="1996313"/>
                  </a:lnTo>
                  <a:lnTo>
                    <a:pt x="655040" y="2057450"/>
                  </a:lnTo>
                  <a:lnTo>
                    <a:pt x="656831" y="2116531"/>
                  </a:lnTo>
                  <a:lnTo>
                    <a:pt x="658571" y="2172728"/>
                  </a:lnTo>
                  <a:lnTo>
                    <a:pt x="660260" y="2225243"/>
                  </a:lnTo>
                  <a:lnTo>
                    <a:pt x="661885" y="2273236"/>
                  </a:lnTo>
                  <a:lnTo>
                    <a:pt x="663409" y="2315921"/>
                  </a:lnTo>
                  <a:lnTo>
                    <a:pt x="666102" y="2382062"/>
                  </a:lnTo>
                  <a:lnTo>
                    <a:pt x="666762" y="2398369"/>
                  </a:lnTo>
                  <a:lnTo>
                    <a:pt x="667232" y="2414028"/>
                  </a:lnTo>
                  <a:lnTo>
                    <a:pt x="667512" y="2429052"/>
                  </a:lnTo>
                  <a:lnTo>
                    <a:pt x="667613" y="2443454"/>
                  </a:lnTo>
                  <a:lnTo>
                    <a:pt x="667613" y="1432941"/>
                  </a:lnTo>
                  <a:lnTo>
                    <a:pt x="667537" y="1430007"/>
                  </a:lnTo>
                  <a:lnTo>
                    <a:pt x="670407" y="1430362"/>
                  </a:lnTo>
                  <a:lnTo>
                    <a:pt x="693508" y="1432331"/>
                  </a:lnTo>
                  <a:lnTo>
                    <a:pt x="697204" y="1625600"/>
                  </a:lnTo>
                  <a:lnTo>
                    <a:pt x="699223" y="1727200"/>
                  </a:lnTo>
                  <a:lnTo>
                    <a:pt x="702462" y="1917700"/>
                  </a:lnTo>
                  <a:lnTo>
                    <a:pt x="703516" y="1981200"/>
                  </a:lnTo>
                  <a:lnTo>
                    <a:pt x="704519" y="2044700"/>
                  </a:lnTo>
                  <a:lnTo>
                    <a:pt x="705459" y="2108200"/>
                  </a:lnTo>
                  <a:lnTo>
                    <a:pt x="706310" y="2159000"/>
                  </a:lnTo>
                  <a:lnTo>
                    <a:pt x="707656" y="2273300"/>
                  </a:lnTo>
                  <a:lnTo>
                    <a:pt x="708126" y="2324100"/>
                  </a:lnTo>
                  <a:lnTo>
                    <a:pt x="708418" y="2362200"/>
                  </a:lnTo>
                  <a:lnTo>
                    <a:pt x="708520" y="2400300"/>
                  </a:lnTo>
                  <a:lnTo>
                    <a:pt x="708520" y="1435100"/>
                  </a:lnTo>
                  <a:lnTo>
                    <a:pt x="707085" y="1435100"/>
                  </a:lnTo>
                  <a:lnTo>
                    <a:pt x="704583" y="1432801"/>
                  </a:lnTo>
                  <a:lnTo>
                    <a:pt x="727684" y="1433499"/>
                  </a:lnTo>
                  <a:lnTo>
                    <a:pt x="757097" y="1432610"/>
                  </a:lnTo>
                  <a:lnTo>
                    <a:pt x="820547" y="1423428"/>
                  </a:lnTo>
                  <a:lnTo>
                    <a:pt x="867968" y="1407236"/>
                  </a:lnTo>
                  <a:lnTo>
                    <a:pt x="874839" y="1403705"/>
                  </a:lnTo>
                  <a:lnTo>
                    <a:pt x="883005" y="1399527"/>
                  </a:lnTo>
                  <a:lnTo>
                    <a:pt x="923556" y="1368082"/>
                  </a:lnTo>
                  <a:lnTo>
                    <a:pt x="953363" y="1322476"/>
                  </a:lnTo>
                  <a:lnTo>
                    <a:pt x="967613" y="1277264"/>
                  </a:lnTo>
                  <a:lnTo>
                    <a:pt x="978725" y="1213548"/>
                  </a:lnTo>
                  <a:lnTo>
                    <a:pt x="983996" y="1162227"/>
                  </a:lnTo>
                  <a:lnTo>
                    <a:pt x="987425" y="1107160"/>
                  </a:lnTo>
                  <a:lnTo>
                    <a:pt x="989304" y="1049680"/>
                  </a:lnTo>
                  <a:lnTo>
                    <a:pt x="989876" y="991108"/>
                  </a:lnTo>
                  <a:lnTo>
                    <a:pt x="989088" y="916952"/>
                  </a:lnTo>
                  <a:lnTo>
                    <a:pt x="987069" y="846201"/>
                  </a:lnTo>
                  <a:lnTo>
                    <a:pt x="984288" y="781761"/>
                  </a:lnTo>
                  <a:lnTo>
                    <a:pt x="981265" y="726541"/>
                  </a:lnTo>
                  <a:lnTo>
                    <a:pt x="978496" y="683463"/>
                  </a:lnTo>
                  <a:lnTo>
                    <a:pt x="978242" y="680059"/>
                  </a:lnTo>
                  <a:lnTo>
                    <a:pt x="981240" y="685800"/>
                  </a:lnTo>
                  <a:lnTo>
                    <a:pt x="986205" y="711200"/>
                  </a:lnTo>
                  <a:lnTo>
                    <a:pt x="989672" y="723900"/>
                  </a:lnTo>
                  <a:lnTo>
                    <a:pt x="991565" y="736600"/>
                  </a:lnTo>
                  <a:lnTo>
                    <a:pt x="992644" y="736600"/>
                  </a:lnTo>
                  <a:lnTo>
                    <a:pt x="993521" y="749300"/>
                  </a:lnTo>
                  <a:lnTo>
                    <a:pt x="993902" y="749300"/>
                  </a:lnTo>
                  <a:lnTo>
                    <a:pt x="993902" y="669671"/>
                  </a:lnTo>
                  <a:lnTo>
                    <a:pt x="988695" y="660400"/>
                  </a:lnTo>
                  <a:lnTo>
                    <a:pt x="979957" y="647700"/>
                  </a:lnTo>
                  <a:lnTo>
                    <a:pt x="969429" y="635000"/>
                  </a:lnTo>
                  <a:lnTo>
                    <a:pt x="963422" y="622300"/>
                  </a:lnTo>
                  <a:lnTo>
                    <a:pt x="960094" y="622300"/>
                  </a:lnTo>
                  <a:lnTo>
                    <a:pt x="960094" y="991108"/>
                  </a:lnTo>
                  <a:lnTo>
                    <a:pt x="959700" y="1039444"/>
                  </a:lnTo>
                  <a:lnTo>
                    <a:pt x="958430" y="1087107"/>
                  </a:lnTo>
                  <a:lnTo>
                    <a:pt x="956170" y="1133246"/>
                  </a:lnTo>
                  <a:lnTo>
                    <a:pt x="952792" y="1177010"/>
                  </a:lnTo>
                  <a:lnTo>
                    <a:pt x="948143" y="1217587"/>
                  </a:lnTo>
                  <a:lnTo>
                    <a:pt x="938618" y="1270419"/>
                  </a:lnTo>
                  <a:lnTo>
                    <a:pt x="925957" y="1310754"/>
                  </a:lnTo>
                  <a:lnTo>
                    <a:pt x="901890" y="1347647"/>
                  </a:lnTo>
                  <a:lnTo>
                    <a:pt x="855459" y="1380185"/>
                  </a:lnTo>
                  <a:lnTo>
                    <a:pt x="813574" y="1394460"/>
                  </a:lnTo>
                  <a:lnTo>
                    <a:pt x="769645" y="1401724"/>
                  </a:lnTo>
                  <a:lnTo>
                    <a:pt x="727684" y="1403705"/>
                  </a:lnTo>
                  <a:lnTo>
                    <a:pt x="712038" y="1403451"/>
                  </a:lnTo>
                  <a:lnTo>
                    <a:pt x="697636" y="1402778"/>
                  </a:lnTo>
                  <a:lnTo>
                    <a:pt x="684745" y="1401838"/>
                  </a:lnTo>
                  <a:lnTo>
                    <a:pt x="666940" y="1400009"/>
                  </a:lnTo>
                  <a:lnTo>
                    <a:pt x="666762" y="1399997"/>
                  </a:lnTo>
                  <a:lnTo>
                    <a:pt x="666242" y="1379842"/>
                  </a:lnTo>
                  <a:lnTo>
                    <a:pt x="684631" y="1381671"/>
                  </a:lnTo>
                  <a:lnTo>
                    <a:pt x="702995" y="1382801"/>
                  </a:lnTo>
                  <a:lnTo>
                    <a:pt x="744778" y="1382382"/>
                  </a:lnTo>
                  <a:lnTo>
                    <a:pt x="788416" y="1376248"/>
                  </a:lnTo>
                  <a:lnTo>
                    <a:pt x="838415" y="1358531"/>
                  </a:lnTo>
                  <a:lnTo>
                    <a:pt x="886333" y="1322400"/>
                  </a:lnTo>
                  <a:lnTo>
                    <a:pt x="914958" y="1281391"/>
                  </a:lnTo>
                  <a:lnTo>
                    <a:pt x="931214" y="1241628"/>
                  </a:lnTo>
                  <a:lnTo>
                    <a:pt x="943267" y="1188313"/>
                  </a:lnTo>
                  <a:lnTo>
                    <a:pt x="949426" y="1122222"/>
                  </a:lnTo>
                  <a:lnTo>
                    <a:pt x="951115" y="1027353"/>
                  </a:lnTo>
                  <a:lnTo>
                    <a:pt x="951788" y="999096"/>
                  </a:lnTo>
                  <a:lnTo>
                    <a:pt x="953363" y="973505"/>
                  </a:lnTo>
                  <a:lnTo>
                    <a:pt x="955167" y="949871"/>
                  </a:lnTo>
                  <a:lnTo>
                    <a:pt x="956386" y="925664"/>
                  </a:lnTo>
                  <a:lnTo>
                    <a:pt x="957084" y="901077"/>
                  </a:lnTo>
                  <a:lnTo>
                    <a:pt x="957300" y="876325"/>
                  </a:lnTo>
                  <a:lnTo>
                    <a:pt x="955852" y="812292"/>
                  </a:lnTo>
                  <a:lnTo>
                    <a:pt x="957884" y="864387"/>
                  </a:lnTo>
                  <a:lnTo>
                    <a:pt x="959485" y="926630"/>
                  </a:lnTo>
                  <a:lnTo>
                    <a:pt x="960094" y="991108"/>
                  </a:lnTo>
                  <a:lnTo>
                    <a:pt x="960094" y="622300"/>
                  </a:lnTo>
                  <a:lnTo>
                    <a:pt x="954049" y="622300"/>
                  </a:lnTo>
                  <a:lnTo>
                    <a:pt x="954049" y="774852"/>
                  </a:lnTo>
                  <a:lnTo>
                    <a:pt x="951585" y="732764"/>
                  </a:lnTo>
                  <a:lnTo>
                    <a:pt x="946785" y="676211"/>
                  </a:lnTo>
                  <a:lnTo>
                    <a:pt x="942759" y="637806"/>
                  </a:lnTo>
                  <a:lnTo>
                    <a:pt x="942416" y="635000"/>
                  </a:lnTo>
                  <a:lnTo>
                    <a:pt x="943406" y="635000"/>
                  </a:lnTo>
                  <a:lnTo>
                    <a:pt x="951712" y="647395"/>
                  </a:lnTo>
                  <a:lnTo>
                    <a:pt x="945984" y="647865"/>
                  </a:lnTo>
                  <a:lnTo>
                    <a:pt x="946213" y="650481"/>
                  </a:lnTo>
                  <a:lnTo>
                    <a:pt x="948194" y="677049"/>
                  </a:lnTo>
                  <a:lnTo>
                    <a:pt x="950455" y="710704"/>
                  </a:lnTo>
                  <a:lnTo>
                    <a:pt x="953033" y="754456"/>
                  </a:lnTo>
                  <a:lnTo>
                    <a:pt x="954049" y="774852"/>
                  </a:lnTo>
                  <a:lnTo>
                    <a:pt x="954049" y="622300"/>
                  </a:lnTo>
                  <a:lnTo>
                    <a:pt x="949858" y="622300"/>
                  </a:lnTo>
                  <a:lnTo>
                    <a:pt x="942289" y="609600"/>
                  </a:lnTo>
                  <a:lnTo>
                    <a:pt x="927506" y="609600"/>
                  </a:lnTo>
                  <a:lnTo>
                    <a:pt x="927506" y="876325"/>
                  </a:lnTo>
                  <a:lnTo>
                    <a:pt x="927290" y="900544"/>
                  </a:lnTo>
                  <a:lnTo>
                    <a:pt x="926630" y="924509"/>
                  </a:lnTo>
                  <a:lnTo>
                    <a:pt x="925449" y="947991"/>
                  </a:lnTo>
                  <a:lnTo>
                    <a:pt x="923721" y="970800"/>
                  </a:lnTo>
                  <a:lnTo>
                    <a:pt x="922007" y="998372"/>
                  </a:lnTo>
                  <a:lnTo>
                    <a:pt x="921308" y="1027925"/>
                  </a:lnTo>
                  <a:lnTo>
                    <a:pt x="920635" y="1090955"/>
                  </a:lnTo>
                  <a:lnTo>
                    <a:pt x="919911" y="1115263"/>
                  </a:lnTo>
                  <a:lnTo>
                    <a:pt x="916444" y="1163624"/>
                  </a:lnTo>
                  <a:lnTo>
                    <a:pt x="910107" y="1204391"/>
                  </a:lnTo>
                  <a:lnTo>
                    <a:pt x="895642" y="1252359"/>
                  </a:lnTo>
                  <a:lnTo>
                    <a:pt x="872274" y="1293025"/>
                  </a:lnTo>
                  <a:lnTo>
                    <a:pt x="837692" y="1324571"/>
                  </a:lnTo>
                  <a:lnTo>
                    <a:pt x="788454" y="1345603"/>
                  </a:lnTo>
                  <a:lnTo>
                    <a:pt x="720534" y="1353375"/>
                  </a:lnTo>
                  <a:lnTo>
                    <a:pt x="704240" y="1353032"/>
                  </a:lnTo>
                  <a:lnTo>
                    <a:pt x="687031" y="1351965"/>
                  </a:lnTo>
                  <a:lnTo>
                    <a:pt x="668896" y="1350175"/>
                  </a:lnTo>
                  <a:lnTo>
                    <a:pt x="664997" y="1349667"/>
                  </a:lnTo>
                  <a:lnTo>
                    <a:pt x="664565" y="1339557"/>
                  </a:lnTo>
                  <a:lnTo>
                    <a:pt x="705218" y="1337525"/>
                  </a:lnTo>
                  <a:lnTo>
                    <a:pt x="741680" y="1331468"/>
                  </a:lnTo>
                  <a:lnTo>
                    <a:pt x="801204" y="1307998"/>
                  </a:lnTo>
                  <a:lnTo>
                    <a:pt x="834872" y="1281379"/>
                  </a:lnTo>
                  <a:lnTo>
                    <a:pt x="859802" y="1248524"/>
                  </a:lnTo>
                  <a:lnTo>
                    <a:pt x="883462" y="1190904"/>
                  </a:lnTo>
                  <a:lnTo>
                    <a:pt x="895235" y="1126591"/>
                  </a:lnTo>
                  <a:lnTo>
                    <a:pt x="899985" y="1058494"/>
                  </a:lnTo>
                  <a:lnTo>
                    <a:pt x="902741" y="968908"/>
                  </a:lnTo>
                  <a:lnTo>
                    <a:pt x="903376" y="927722"/>
                  </a:lnTo>
                  <a:lnTo>
                    <a:pt x="903439" y="907135"/>
                  </a:lnTo>
                  <a:lnTo>
                    <a:pt x="902373" y="823785"/>
                  </a:lnTo>
                  <a:lnTo>
                    <a:pt x="899833" y="748512"/>
                  </a:lnTo>
                  <a:lnTo>
                    <a:pt x="896810" y="687298"/>
                  </a:lnTo>
                  <a:lnTo>
                    <a:pt x="894270" y="646137"/>
                  </a:lnTo>
                  <a:lnTo>
                    <a:pt x="893483" y="635000"/>
                  </a:lnTo>
                  <a:lnTo>
                    <a:pt x="912393" y="635000"/>
                  </a:lnTo>
                  <a:lnTo>
                    <a:pt x="918006" y="688365"/>
                  </a:lnTo>
                  <a:lnTo>
                    <a:pt x="922451" y="742899"/>
                  </a:lnTo>
                  <a:lnTo>
                    <a:pt x="926033" y="807224"/>
                  </a:lnTo>
                  <a:lnTo>
                    <a:pt x="927506" y="876325"/>
                  </a:lnTo>
                  <a:lnTo>
                    <a:pt x="927506" y="609600"/>
                  </a:lnTo>
                  <a:lnTo>
                    <a:pt x="873658" y="609600"/>
                  </a:lnTo>
                  <a:lnTo>
                    <a:pt x="873658" y="907135"/>
                  </a:lnTo>
                  <a:lnTo>
                    <a:pt x="873582" y="927493"/>
                  </a:lnTo>
                  <a:lnTo>
                    <a:pt x="872947" y="968197"/>
                  </a:lnTo>
                  <a:lnTo>
                    <a:pt x="870496" y="1049731"/>
                  </a:lnTo>
                  <a:lnTo>
                    <a:pt x="867041" y="1109052"/>
                  </a:lnTo>
                  <a:lnTo>
                    <a:pt x="861783" y="1150797"/>
                  </a:lnTo>
                  <a:lnTo>
                    <a:pt x="852995" y="1189151"/>
                  </a:lnTo>
                  <a:lnTo>
                    <a:pt x="837704" y="1227048"/>
                  </a:lnTo>
                  <a:lnTo>
                    <a:pt x="806246" y="1267548"/>
                  </a:lnTo>
                  <a:lnTo>
                    <a:pt x="771829" y="1289900"/>
                  </a:lnTo>
                  <a:lnTo>
                    <a:pt x="725182" y="1304518"/>
                  </a:lnTo>
                  <a:lnTo>
                    <a:pt x="663917" y="1309801"/>
                  </a:lnTo>
                  <a:lnTo>
                    <a:pt x="663321" y="1309801"/>
                  </a:lnTo>
                  <a:lnTo>
                    <a:pt x="662686" y="1294358"/>
                  </a:lnTo>
                  <a:lnTo>
                    <a:pt x="678319" y="1294612"/>
                  </a:lnTo>
                  <a:lnTo>
                    <a:pt x="699947" y="1294028"/>
                  </a:lnTo>
                  <a:lnTo>
                    <a:pt x="738187" y="1288897"/>
                  </a:lnTo>
                  <a:lnTo>
                    <a:pt x="777582" y="1272679"/>
                  </a:lnTo>
                  <a:lnTo>
                    <a:pt x="808291" y="1241488"/>
                  </a:lnTo>
                  <a:lnTo>
                    <a:pt x="829271" y="1192390"/>
                  </a:lnTo>
                  <a:lnTo>
                    <a:pt x="837628" y="1154645"/>
                  </a:lnTo>
                  <a:lnTo>
                    <a:pt x="843851" y="1109738"/>
                  </a:lnTo>
                  <a:lnTo>
                    <a:pt x="848601" y="1056855"/>
                  </a:lnTo>
                  <a:lnTo>
                    <a:pt x="851268" y="1014831"/>
                  </a:lnTo>
                  <a:lnTo>
                    <a:pt x="853033" y="974153"/>
                  </a:lnTo>
                  <a:lnTo>
                    <a:pt x="854011" y="935075"/>
                  </a:lnTo>
                  <a:lnTo>
                    <a:pt x="854303" y="897915"/>
                  </a:lnTo>
                  <a:lnTo>
                    <a:pt x="852893" y="816495"/>
                  </a:lnTo>
                  <a:lnTo>
                    <a:pt x="849782" y="752830"/>
                  </a:lnTo>
                  <a:lnTo>
                    <a:pt x="846658" y="711301"/>
                  </a:lnTo>
                  <a:lnTo>
                    <a:pt x="845223" y="696302"/>
                  </a:lnTo>
                  <a:lnTo>
                    <a:pt x="837793" y="697115"/>
                  </a:lnTo>
                  <a:lnTo>
                    <a:pt x="839965" y="685800"/>
                  </a:lnTo>
                  <a:lnTo>
                    <a:pt x="845908" y="673100"/>
                  </a:lnTo>
                  <a:lnTo>
                    <a:pt x="852982" y="660400"/>
                  </a:lnTo>
                  <a:lnTo>
                    <a:pt x="861199" y="647700"/>
                  </a:lnTo>
                  <a:lnTo>
                    <a:pt x="864463" y="647700"/>
                  </a:lnTo>
                  <a:lnTo>
                    <a:pt x="868197" y="709764"/>
                  </a:lnTo>
                  <a:lnTo>
                    <a:pt x="870788" y="767384"/>
                  </a:lnTo>
                  <a:lnTo>
                    <a:pt x="872832" y="834517"/>
                  </a:lnTo>
                  <a:lnTo>
                    <a:pt x="873658" y="907135"/>
                  </a:lnTo>
                  <a:lnTo>
                    <a:pt x="873658" y="609600"/>
                  </a:lnTo>
                  <a:lnTo>
                    <a:pt x="870940" y="609600"/>
                  </a:lnTo>
                  <a:lnTo>
                    <a:pt x="857986" y="622300"/>
                  </a:lnTo>
                  <a:lnTo>
                    <a:pt x="846848" y="635000"/>
                  </a:lnTo>
                  <a:lnTo>
                    <a:pt x="837399" y="647700"/>
                  </a:lnTo>
                  <a:lnTo>
                    <a:pt x="829462" y="660400"/>
                  </a:lnTo>
                  <a:lnTo>
                    <a:pt x="824509" y="673633"/>
                  </a:lnTo>
                  <a:lnTo>
                    <a:pt x="824509" y="897915"/>
                  </a:lnTo>
                  <a:lnTo>
                    <a:pt x="824217" y="934593"/>
                  </a:lnTo>
                  <a:lnTo>
                    <a:pt x="823264" y="973124"/>
                  </a:lnTo>
                  <a:lnTo>
                    <a:pt x="823061" y="977620"/>
                  </a:lnTo>
                  <a:lnTo>
                    <a:pt x="823442" y="965200"/>
                  </a:lnTo>
                  <a:lnTo>
                    <a:pt x="824052" y="939800"/>
                  </a:lnTo>
                  <a:lnTo>
                    <a:pt x="824166" y="901700"/>
                  </a:lnTo>
                  <a:lnTo>
                    <a:pt x="824026" y="889000"/>
                  </a:lnTo>
                  <a:lnTo>
                    <a:pt x="823188" y="838200"/>
                  </a:lnTo>
                  <a:lnTo>
                    <a:pt x="823048" y="838200"/>
                  </a:lnTo>
                  <a:lnTo>
                    <a:pt x="823099" y="818438"/>
                  </a:lnTo>
                  <a:lnTo>
                    <a:pt x="823277" y="822083"/>
                  </a:lnTo>
                  <a:lnTo>
                    <a:pt x="824509" y="897915"/>
                  </a:lnTo>
                  <a:lnTo>
                    <a:pt x="824509" y="673633"/>
                  </a:lnTo>
                  <a:lnTo>
                    <a:pt x="821080" y="682790"/>
                  </a:lnTo>
                  <a:lnTo>
                    <a:pt x="821080" y="1020152"/>
                  </a:lnTo>
                  <a:lnTo>
                    <a:pt x="818896" y="1054646"/>
                  </a:lnTo>
                  <a:lnTo>
                    <a:pt x="813244" y="1115098"/>
                  </a:lnTo>
                  <a:lnTo>
                    <a:pt x="805662" y="1163370"/>
                  </a:lnTo>
                  <a:lnTo>
                    <a:pt x="794004" y="1204112"/>
                  </a:lnTo>
                  <a:lnTo>
                    <a:pt x="772642" y="1238580"/>
                  </a:lnTo>
                  <a:lnTo>
                    <a:pt x="736650" y="1258557"/>
                  </a:lnTo>
                  <a:lnTo>
                    <a:pt x="695312" y="1264437"/>
                  </a:lnTo>
                  <a:lnTo>
                    <a:pt x="678319" y="1264818"/>
                  </a:lnTo>
                  <a:lnTo>
                    <a:pt x="662813" y="1264564"/>
                  </a:lnTo>
                  <a:lnTo>
                    <a:pt x="661441" y="1264513"/>
                  </a:lnTo>
                  <a:lnTo>
                    <a:pt x="658012" y="1182420"/>
                  </a:lnTo>
                  <a:lnTo>
                    <a:pt x="662368" y="1193800"/>
                  </a:lnTo>
                  <a:lnTo>
                    <a:pt x="668235" y="1206500"/>
                  </a:lnTo>
                  <a:lnTo>
                    <a:pt x="675220" y="1206500"/>
                  </a:lnTo>
                  <a:lnTo>
                    <a:pt x="683463" y="1219200"/>
                  </a:lnTo>
                  <a:lnTo>
                    <a:pt x="692988" y="1219200"/>
                  </a:lnTo>
                  <a:lnTo>
                    <a:pt x="703757" y="1231900"/>
                  </a:lnTo>
                  <a:lnTo>
                    <a:pt x="753173" y="1231900"/>
                  </a:lnTo>
                  <a:lnTo>
                    <a:pt x="760272" y="1219200"/>
                  </a:lnTo>
                  <a:lnTo>
                    <a:pt x="771258" y="1219200"/>
                  </a:lnTo>
                  <a:lnTo>
                    <a:pt x="776109" y="1206500"/>
                  </a:lnTo>
                  <a:lnTo>
                    <a:pt x="780580" y="1206500"/>
                  </a:lnTo>
                  <a:lnTo>
                    <a:pt x="787590" y="1193800"/>
                  </a:lnTo>
                  <a:lnTo>
                    <a:pt x="793737" y="1168400"/>
                  </a:lnTo>
                  <a:lnTo>
                    <a:pt x="799096" y="1155700"/>
                  </a:lnTo>
                  <a:lnTo>
                    <a:pt x="803770" y="1143000"/>
                  </a:lnTo>
                  <a:lnTo>
                    <a:pt x="809637" y="1117600"/>
                  </a:lnTo>
                  <a:lnTo>
                    <a:pt x="814273" y="1092200"/>
                  </a:lnTo>
                  <a:lnTo>
                    <a:pt x="817841" y="1054100"/>
                  </a:lnTo>
                  <a:lnTo>
                    <a:pt x="820470" y="1028700"/>
                  </a:lnTo>
                  <a:lnTo>
                    <a:pt x="821080" y="1020152"/>
                  </a:lnTo>
                  <a:lnTo>
                    <a:pt x="821080" y="682790"/>
                  </a:lnTo>
                  <a:lnTo>
                    <a:pt x="819950" y="685800"/>
                  </a:lnTo>
                  <a:lnTo>
                    <a:pt x="816140" y="699477"/>
                  </a:lnTo>
                  <a:lnTo>
                    <a:pt x="815606" y="699528"/>
                  </a:lnTo>
                  <a:lnTo>
                    <a:pt x="815733" y="700938"/>
                  </a:lnTo>
                  <a:lnTo>
                    <a:pt x="812876" y="711200"/>
                  </a:lnTo>
                  <a:lnTo>
                    <a:pt x="807821" y="723900"/>
                  </a:lnTo>
                  <a:lnTo>
                    <a:pt x="804405" y="749300"/>
                  </a:lnTo>
                  <a:lnTo>
                    <a:pt x="802297" y="774700"/>
                  </a:lnTo>
                  <a:lnTo>
                    <a:pt x="801179" y="800100"/>
                  </a:lnTo>
                  <a:lnTo>
                    <a:pt x="800735" y="812800"/>
                  </a:lnTo>
                  <a:lnTo>
                    <a:pt x="800709" y="838200"/>
                  </a:lnTo>
                  <a:lnTo>
                    <a:pt x="801268" y="863600"/>
                  </a:lnTo>
                  <a:lnTo>
                    <a:pt x="801687" y="889000"/>
                  </a:lnTo>
                  <a:lnTo>
                    <a:pt x="801827" y="901700"/>
                  </a:lnTo>
                  <a:lnTo>
                    <a:pt x="801738" y="927100"/>
                  </a:lnTo>
                  <a:lnTo>
                    <a:pt x="801306" y="965200"/>
                  </a:lnTo>
                  <a:lnTo>
                    <a:pt x="799198" y="1016000"/>
                  </a:lnTo>
                  <a:lnTo>
                    <a:pt x="794918" y="1066800"/>
                  </a:lnTo>
                  <a:lnTo>
                    <a:pt x="787857" y="1104900"/>
                  </a:lnTo>
                  <a:lnTo>
                    <a:pt x="777481" y="1155700"/>
                  </a:lnTo>
                  <a:lnTo>
                    <a:pt x="763625" y="1181100"/>
                  </a:lnTo>
                  <a:lnTo>
                    <a:pt x="759675" y="1193800"/>
                  </a:lnTo>
                  <a:lnTo>
                    <a:pt x="755573" y="1193800"/>
                  </a:lnTo>
                  <a:lnTo>
                    <a:pt x="751357" y="1206500"/>
                  </a:lnTo>
                  <a:lnTo>
                    <a:pt x="697776" y="1206500"/>
                  </a:lnTo>
                  <a:lnTo>
                    <a:pt x="693445" y="1193800"/>
                  </a:lnTo>
                  <a:lnTo>
                    <a:pt x="689444" y="1193800"/>
                  </a:lnTo>
                  <a:lnTo>
                    <a:pt x="685761" y="1181100"/>
                  </a:lnTo>
                  <a:lnTo>
                    <a:pt x="682396" y="1181100"/>
                  </a:lnTo>
                  <a:lnTo>
                    <a:pt x="677951" y="1168400"/>
                  </a:lnTo>
                  <a:lnTo>
                    <a:pt x="668947" y="1130300"/>
                  </a:lnTo>
                  <a:lnTo>
                    <a:pt x="665556" y="1092200"/>
                  </a:lnTo>
                  <a:lnTo>
                    <a:pt x="665556" y="1054100"/>
                  </a:lnTo>
                  <a:lnTo>
                    <a:pt x="666064" y="1041400"/>
                  </a:lnTo>
                  <a:lnTo>
                    <a:pt x="666788" y="1016000"/>
                  </a:lnTo>
                  <a:lnTo>
                    <a:pt x="668451" y="990600"/>
                  </a:lnTo>
                  <a:lnTo>
                    <a:pt x="669188" y="977900"/>
                  </a:lnTo>
                  <a:lnTo>
                    <a:pt x="669709" y="965200"/>
                  </a:lnTo>
                  <a:lnTo>
                    <a:pt x="669912" y="952500"/>
                  </a:lnTo>
                  <a:lnTo>
                    <a:pt x="669785" y="939800"/>
                  </a:lnTo>
                  <a:lnTo>
                    <a:pt x="669429" y="927100"/>
                  </a:lnTo>
                  <a:lnTo>
                    <a:pt x="668858" y="914400"/>
                  </a:lnTo>
                  <a:lnTo>
                    <a:pt x="668070" y="889000"/>
                  </a:lnTo>
                  <a:lnTo>
                    <a:pt x="665988" y="850900"/>
                  </a:lnTo>
                  <a:lnTo>
                    <a:pt x="663270" y="787400"/>
                  </a:lnTo>
                  <a:lnTo>
                    <a:pt x="660069" y="736600"/>
                  </a:lnTo>
                  <a:lnTo>
                    <a:pt x="656488" y="660400"/>
                  </a:lnTo>
                  <a:lnTo>
                    <a:pt x="652653" y="596900"/>
                  </a:lnTo>
                  <a:lnTo>
                    <a:pt x="648703" y="520700"/>
                  </a:lnTo>
                  <a:lnTo>
                    <a:pt x="644753" y="457200"/>
                  </a:lnTo>
                  <a:lnTo>
                    <a:pt x="640930" y="393700"/>
                  </a:lnTo>
                  <a:lnTo>
                    <a:pt x="634136" y="266700"/>
                  </a:lnTo>
                  <a:lnTo>
                    <a:pt x="627519" y="152400"/>
                  </a:lnTo>
                  <a:lnTo>
                    <a:pt x="627100" y="152400"/>
                  </a:lnTo>
                  <a:lnTo>
                    <a:pt x="625017" y="127000"/>
                  </a:lnTo>
                  <a:lnTo>
                    <a:pt x="620052" y="101600"/>
                  </a:lnTo>
                  <a:lnTo>
                    <a:pt x="604329" y="63500"/>
                  </a:lnTo>
                  <a:lnTo>
                    <a:pt x="574052" y="25400"/>
                  </a:lnTo>
                  <a:lnTo>
                    <a:pt x="543026" y="0"/>
                  </a:lnTo>
                  <a:lnTo>
                    <a:pt x="463778" y="0"/>
                  </a:lnTo>
                  <a:lnTo>
                    <a:pt x="449580" y="12700"/>
                  </a:lnTo>
                  <a:lnTo>
                    <a:pt x="437172" y="12700"/>
                  </a:lnTo>
                  <a:lnTo>
                    <a:pt x="426478" y="25400"/>
                  </a:lnTo>
                  <a:lnTo>
                    <a:pt x="417436" y="38100"/>
                  </a:lnTo>
                  <a:lnTo>
                    <a:pt x="406577" y="63500"/>
                  </a:lnTo>
                  <a:lnTo>
                    <a:pt x="398475" y="76200"/>
                  </a:lnTo>
                  <a:lnTo>
                    <a:pt x="396582" y="84518"/>
                  </a:lnTo>
                  <a:lnTo>
                    <a:pt x="395617" y="84543"/>
                  </a:lnTo>
                  <a:lnTo>
                    <a:pt x="395744" y="88201"/>
                  </a:lnTo>
                  <a:lnTo>
                    <a:pt x="392696" y="101600"/>
                  </a:lnTo>
                  <a:lnTo>
                    <a:pt x="388785" y="127000"/>
                  </a:lnTo>
                  <a:lnTo>
                    <a:pt x="386372" y="152400"/>
                  </a:lnTo>
                  <a:lnTo>
                    <a:pt x="385076" y="165100"/>
                  </a:lnTo>
                  <a:lnTo>
                    <a:pt x="384543" y="190500"/>
                  </a:lnTo>
                  <a:lnTo>
                    <a:pt x="384441" y="1079500"/>
                  </a:lnTo>
                  <a:lnTo>
                    <a:pt x="384505" y="1092200"/>
                  </a:lnTo>
                  <a:lnTo>
                    <a:pt x="380022" y="1143000"/>
                  </a:lnTo>
                  <a:lnTo>
                    <a:pt x="371182" y="1181100"/>
                  </a:lnTo>
                  <a:lnTo>
                    <a:pt x="355955" y="1219200"/>
                  </a:lnTo>
                  <a:lnTo>
                    <a:pt x="347408" y="1219200"/>
                  </a:lnTo>
                  <a:lnTo>
                    <a:pt x="337667" y="1231900"/>
                  </a:lnTo>
                  <a:lnTo>
                    <a:pt x="315061" y="1231900"/>
                  </a:lnTo>
                  <a:lnTo>
                    <a:pt x="311632" y="1222908"/>
                  </a:lnTo>
                  <a:lnTo>
                    <a:pt x="311632" y="1246479"/>
                  </a:lnTo>
                  <a:lnTo>
                    <a:pt x="309638" y="1245336"/>
                  </a:lnTo>
                  <a:lnTo>
                    <a:pt x="308584" y="1244600"/>
                  </a:lnTo>
                  <a:lnTo>
                    <a:pt x="310540" y="1244600"/>
                  </a:lnTo>
                  <a:lnTo>
                    <a:pt x="311632" y="1246479"/>
                  </a:lnTo>
                  <a:lnTo>
                    <a:pt x="311632" y="1222908"/>
                  </a:lnTo>
                  <a:lnTo>
                    <a:pt x="310222" y="1219200"/>
                  </a:lnTo>
                  <a:lnTo>
                    <a:pt x="301967" y="1219200"/>
                  </a:lnTo>
                  <a:lnTo>
                    <a:pt x="298119" y="1206500"/>
                  </a:lnTo>
                  <a:lnTo>
                    <a:pt x="293306" y="1206500"/>
                  </a:lnTo>
                  <a:lnTo>
                    <a:pt x="288886" y="1193800"/>
                  </a:lnTo>
                  <a:lnTo>
                    <a:pt x="284924" y="1181100"/>
                  </a:lnTo>
                  <a:lnTo>
                    <a:pt x="281419" y="1168400"/>
                  </a:lnTo>
                  <a:lnTo>
                    <a:pt x="277050" y="1143000"/>
                  </a:lnTo>
                  <a:lnTo>
                    <a:pt x="273646" y="1130300"/>
                  </a:lnTo>
                  <a:lnTo>
                    <a:pt x="269265" y="1079500"/>
                  </a:lnTo>
                  <a:lnTo>
                    <a:pt x="267411" y="1028700"/>
                  </a:lnTo>
                  <a:lnTo>
                    <a:pt x="267081" y="965200"/>
                  </a:lnTo>
                  <a:lnTo>
                    <a:pt x="267258" y="952500"/>
                  </a:lnTo>
                  <a:lnTo>
                    <a:pt x="269227" y="901700"/>
                  </a:lnTo>
                  <a:lnTo>
                    <a:pt x="270040" y="876300"/>
                  </a:lnTo>
                  <a:lnTo>
                    <a:pt x="270738" y="850900"/>
                  </a:lnTo>
                  <a:lnTo>
                    <a:pt x="271233" y="812800"/>
                  </a:lnTo>
                  <a:lnTo>
                    <a:pt x="271411" y="787400"/>
                  </a:lnTo>
                  <a:lnTo>
                    <a:pt x="270789" y="736600"/>
                  </a:lnTo>
                  <a:lnTo>
                    <a:pt x="268643" y="685800"/>
                  </a:lnTo>
                  <a:lnTo>
                    <a:pt x="264502" y="635000"/>
                  </a:lnTo>
                  <a:lnTo>
                    <a:pt x="263664" y="628548"/>
                  </a:lnTo>
                  <a:lnTo>
                    <a:pt x="263664" y="1193101"/>
                  </a:lnTo>
                  <a:lnTo>
                    <a:pt x="254800" y="1173403"/>
                  </a:lnTo>
                  <a:lnTo>
                    <a:pt x="240347" y="1121537"/>
                  </a:lnTo>
                  <a:lnTo>
                    <a:pt x="231762" y="1054646"/>
                  </a:lnTo>
                  <a:lnTo>
                    <a:pt x="228485" y="988275"/>
                  </a:lnTo>
                  <a:lnTo>
                    <a:pt x="227507" y="914793"/>
                  </a:lnTo>
                  <a:lnTo>
                    <a:pt x="227965" y="858227"/>
                  </a:lnTo>
                  <a:lnTo>
                    <a:pt x="229209" y="801357"/>
                  </a:lnTo>
                  <a:lnTo>
                    <a:pt x="231051" y="745655"/>
                  </a:lnTo>
                  <a:lnTo>
                    <a:pt x="233299" y="692594"/>
                  </a:lnTo>
                  <a:lnTo>
                    <a:pt x="235750" y="643674"/>
                  </a:lnTo>
                  <a:lnTo>
                    <a:pt x="238010" y="604113"/>
                  </a:lnTo>
                  <a:lnTo>
                    <a:pt x="240715" y="622300"/>
                  </a:lnTo>
                  <a:lnTo>
                    <a:pt x="244729" y="660400"/>
                  </a:lnTo>
                  <a:lnTo>
                    <a:pt x="247294" y="711200"/>
                  </a:lnTo>
                  <a:lnTo>
                    <a:pt x="248666" y="749300"/>
                  </a:lnTo>
                  <a:lnTo>
                    <a:pt x="249072" y="787400"/>
                  </a:lnTo>
                  <a:lnTo>
                    <a:pt x="248399" y="850900"/>
                  </a:lnTo>
                  <a:lnTo>
                    <a:pt x="246913" y="901700"/>
                  </a:lnTo>
                  <a:lnTo>
                    <a:pt x="244919" y="952500"/>
                  </a:lnTo>
                  <a:lnTo>
                    <a:pt x="244741" y="965200"/>
                  </a:lnTo>
                  <a:lnTo>
                    <a:pt x="244767" y="1003300"/>
                  </a:lnTo>
                  <a:lnTo>
                    <a:pt x="246278" y="1066800"/>
                  </a:lnTo>
                  <a:lnTo>
                    <a:pt x="249351" y="1104900"/>
                  </a:lnTo>
                  <a:lnTo>
                    <a:pt x="254914" y="1155700"/>
                  </a:lnTo>
                  <a:lnTo>
                    <a:pt x="258889" y="1168400"/>
                  </a:lnTo>
                  <a:lnTo>
                    <a:pt x="263664" y="1193101"/>
                  </a:lnTo>
                  <a:lnTo>
                    <a:pt x="263664" y="628548"/>
                  </a:lnTo>
                  <a:lnTo>
                    <a:pt x="257911" y="584200"/>
                  </a:lnTo>
                  <a:lnTo>
                    <a:pt x="248373" y="533400"/>
                  </a:lnTo>
                  <a:lnTo>
                    <a:pt x="243649" y="517804"/>
                  </a:lnTo>
                  <a:lnTo>
                    <a:pt x="244005" y="512521"/>
                  </a:lnTo>
                  <a:lnTo>
                    <a:pt x="242011" y="512368"/>
                  </a:lnTo>
                  <a:lnTo>
                    <a:pt x="240690" y="508000"/>
                  </a:lnTo>
                  <a:lnTo>
                    <a:pt x="231482" y="482600"/>
                  </a:lnTo>
                  <a:lnTo>
                    <a:pt x="220573" y="457200"/>
                  </a:lnTo>
                  <a:lnTo>
                    <a:pt x="207733" y="431800"/>
                  </a:lnTo>
                  <a:lnTo>
                    <a:pt x="200482" y="431800"/>
                  </a:lnTo>
                  <a:lnTo>
                    <a:pt x="192633" y="419100"/>
                  </a:lnTo>
                  <a:lnTo>
                    <a:pt x="184175" y="406400"/>
                  </a:lnTo>
                  <a:lnTo>
                    <a:pt x="165290" y="406400"/>
                  </a:lnTo>
                  <a:lnTo>
                    <a:pt x="154901" y="393700"/>
                  </a:lnTo>
                  <a:lnTo>
                    <a:pt x="102717" y="393700"/>
                  </a:lnTo>
                  <a:lnTo>
                    <a:pt x="93687" y="406400"/>
                  </a:lnTo>
                  <a:lnTo>
                    <a:pt x="79057" y="406400"/>
                  </a:lnTo>
                  <a:lnTo>
                    <a:pt x="44538" y="444500"/>
                  </a:lnTo>
                  <a:lnTo>
                    <a:pt x="22047" y="495300"/>
                  </a:lnTo>
                  <a:lnTo>
                    <a:pt x="10058" y="549059"/>
                  </a:lnTo>
                  <a:lnTo>
                    <a:pt x="9131" y="549033"/>
                  </a:lnTo>
                  <a:lnTo>
                    <a:pt x="9144" y="555066"/>
                  </a:lnTo>
                  <a:lnTo>
                    <a:pt x="8585" y="558800"/>
                  </a:lnTo>
                  <a:lnTo>
                    <a:pt x="4495" y="596900"/>
                  </a:lnTo>
                  <a:lnTo>
                    <a:pt x="1854" y="622300"/>
                  </a:lnTo>
                  <a:lnTo>
                    <a:pt x="444" y="660400"/>
                  </a:lnTo>
                  <a:lnTo>
                    <a:pt x="0" y="698500"/>
                  </a:lnTo>
                  <a:lnTo>
                    <a:pt x="736" y="749300"/>
                  </a:lnTo>
                  <a:lnTo>
                    <a:pt x="2451" y="800100"/>
                  </a:lnTo>
                  <a:lnTo>
                    <a:pt x="4495" y="850900"/>
                  </a:lnTo>
                  <a:lnTo>
                    <a:pt x="6210" y="901700"/>
                  </a:lnTo>
                  <a:lnTo>
                    <a:pt x="6921" y="939800"/>
                  </a:lnTo>
                  <a:lnTo>
                    <a:pt x="6832" y="965200"/>
                  </a:lnTo>
                  <a:lnTo>
                    <a:pt x="6934" y="1003300"/>
                  </a:lnTo>
                  <a:lnTo>
                    <a:pt x="7937" y="1066800"/>
                  </a:lnTo>
                  <a:lnTo>
                    <a:pt x="9982" y="1104900"/>
                  </a:lnTo>
                  <a:lnTo>
                    <a:pt x="13525" y="1155700"/>
                  </a:lnTo>
                  <a:lnTo>
                    <a:pt x="19011" y="1206500"/>
                  </a:lnTo>
                  <a:lnTo>
                    <a:pt x="26835" y="1257300"/>
                  </a:lnTo>
                  <a:lnTo>
                    <a:pt x="37414" y="1308100"/>
                  </a:lnTo>
                  <a:lnTo>
                    <a:pt x="49314" y="1346200"/>
                  </a:lnTo>
                  <a:lnTo>
                    <a:pt x="63982" y="1397000"/>
                  </a:lnTo>
                  <a:lnTo>
                    <a:pt x="81800" y="1422400"/>
                  </a:lnTo>
                  <a:lnTo>
                    <a:pt x="103162" y="1460500"/>
                  </a:lnTo>
                  <a:lnTo>
                    <a:pt x="115290" y="1473200"/>
                  </a:lnTo>
                  <a:lnTo>
                    <a:pt x="128473" y="1485900"/>
                  </a:lnTo>
                  <a:lnTo>
                    <a:pt x="142748" y="1498600"/>
                  </a:lnTo>
                  <a:lnTo>
                    <a:pt x="158127" y="1498600"/>
                  </a:lnTo>
                  <a:lnTo>
                    <a:pt x="174612" y="1511300"/>
                  </a:lnTo>
                  <a:lnTo>
                    <a:pt x="192214" y="1511300"/>
                  </a:lnTo>
                  <a:lnTo>
                    <a:pt x="210908" y="1524000"/>
                  </a:lnTo>
                  <a:lnTo>
                    <a:pt x="230657" y="1524000"/>
                  </a:lnTo>
                  <a:lnTo>
                    <a:pt x="270522" y="1511300"/>
                  </a:lnTo>
                  <a:lnTo>
                    <a:pt x="314134" y="1498600"/>
                  </a:lnTo>
                  <a:lnTo>
                    <a:pt x="361772" y="1485900"/>
                  </a:lnTo>
                  <a:lnTo>
                    <a:pt x="396087" y="1460728"/>
                  </a:lnTo>
                  <a:lnTo>
                    <a:pt x="377786" y="2400300"/>
                  </a:lnTo>
                  <a:lnTo>
                    <a:pt x="377520" y="2413000"/>
                  </a:lnTo>
                  <a:lnTo>
                    <a:pt x="376834" y="2413000"/>
                  </a:lnTo>
                  <a:lnTo>
                    <a:pt x="376135" y="2425700"/>
                  </a:lnTo>
                  <a:lnTo>
                    <a:pt x="375831" y="2438400"/>
                  </a:lnTo>
                  <a:lnTo>
                    <a:pt x="376974" y="2476500"/>
                  </a:lnTo>
                  <a:lnTo>
                    <a:pt x="390410" y="2540000"/>
                  </a:lnTo>
                  <a:lnTo>
                    <a:pt x="405739" y="2578100"/>
                  </a:lnTo>
                  <a:lnTo>
                    <a:pt x="429361" y="2603804"/>
                  </a:lnTo>
                  <a:lnTo>
                    <a:pt x="429463" y="2604109"/>
                  </a:lnTo>
                  <a:lnTo>
                    <a:pt x="434365" y="2616250"/>
                  </a:lnTo>
                  <a:lnTo>
                    <a:pt x="438200" y="2623528"/>
                  </a:lnTo>
                  <a:lnTo>
                    <a:pt x="440359" y="2626741"/>
                  </a:lnTo>
                  <a:lnTo>
                    <a:pt x="449186" y="2619895"/>
                  </a:lnTo>
                  <a:lnTo>
                    <a:pt x="461657" y="2628900"/>
                  </a:lnTo>
                  <a:lnTo>
                    <a:pt x="481838" y="2641600"/>
                  </a:lnTo>
                  <a:lnTo>
                    <a:pt x="504698" y="2654300"/>
                  </a:lnTo>
                  <a:lnTo>
                    <a:pt x="558825" y="2654300"/>
                  </a:lnTo>
                  <a:lnTo>
                    <a:pt x="630085" y="2654300"/>
                  </a:lnTo>
                  <a:lnTo>
                    <a:pt x="641286" y="2641600"/>
                  </a:lnTo>
                  <a:lnTo>
                    <a:pt x="652094" y="2641600"/>
                  </a:lnTo>
                  <a:lnTo>
                    <a:pt x="658710" y="2633459"/>
                  </a:lnTo>
                  <a:lnTo>
                    <a:pt x="668604" y="2639212"/>
                  </a:lnTo>
                  <a:lnTo>
                    <a:pt x="673823" y="2627668"/>
                  </a:lnTo>
                  <a:lnTo>
                    <a:pt x="673938" y="2627261"/>
                  </a:lnTo>
                  <a:lnTo>
                    <a:pt x="685634" y="2616200"/>
                  </a:lnTo>
                  <a:lnTo>
                    <a:pt x="697407" y="2590800"/>
                  </a:lnTo>
                  <a:lnTo>
                    <a:pt x="707453" y="2578100"/>
                  </a:lnTo>
                  <a:lnTo>
                    <a:pt x="715733" y="2552700"/>
                  </a:lnTo>
                  <a:lnTo>
                    <a:pt x="722249" y="2514600"/>
                  </a:lnTo>
                  <a:lnTo>
                    <a:pt x="726986" y="2489200"/>
                  </a:lnTo>
                  <a:lnTo>
                    <a:pt x="729869" y="2451100"/>
                  </a:lnTo>
                  <a:lnTo>
                    <a:pt x="730859" y="2400300"/>
                  </a:lnTo>
                  <a:lnTo>
                    <a:pt x="730745" y="2362200"/>
                  </a:lnTo>
                  <a:lnTo>
                    <a:pt x="730402" y="2311400"/>
                  </a:lnTo>
                  <a:lnTo>
                    <a:pt x="729869" y="2260600"/>
                  </a:lnTo>
                  <a:lnTo>
                    <a:pt x="729157" y="2197100"/>
                  </a:lnTo>
                  <a:lnTo>
                    <a:pt x="728306" y="2133600"/>
                  </a:lnTo>
                  <a:lnTo>
                    <a:pt x="727341" y="2070100"/>
                  </a:lnTo>
                  <a:lnTo>
                    <a:pt x="726287" y="2006600"/>
                  </a:lnTo>
                  <a:lnTo>
                    <a:pt x="725157" y="1930400"/>
                  </a:lnTo>
                  <a:lnTo>
                    <a:pt x="722820" y="1803400"/>
                  </a:lnTo>
                  <a:lnTo>
                    <a:pt x="720547" y="1676400"/>
                  </a:lnTo>
                  <a:lnTo>
                    <a:pt x="718515" y="1574800"/>
                  </a:lnTo>
                  <a:lnTo>
                    <a:pt x="716191" y="1447800"/>
                  </a:lnTo>
                  <a:lnTo>
                    <a:pt x="721004" y="1447800"/>
                  </a:lnTo>
                  <a:lnTo>
                    <a:pt x="741438" y="1460500"/>
                  </a:lnTo>
                  <a:lnTo>
                    <a:pt x="803668" y="1460500"/>
                  </a:lnTo>
                  <a:lnTo>
                    <a:pt x="823264" y="1447800"/>
                  </a:lnTo>
                  <a:lnTo>
                    <a:pt x="843457" y="1447800"/>
                  </a:lnTo>
                  <a:lnTo>
                    <a:pt x="904494" y="1422400"/>
                  </a:lnTo>
                  <a:lnTo>
                    <a:pt x="959358" y="1384300"/>
                  </a:lnTo>
                  <a:lnTo>
                    <a:pt x="981494" y="1346200"/>
                  </a:lnTo>
                  <a:lnTo>
                    <a:pt x="998512" y="1308100"/>
                  </a:lnTo>
                  <a:lnTo>
                    <a:pt x="1009421" y="1257300"/>
                  </a:lnTo>
                  <a:lnTo>
                    <a:pt x="1013244" y="1206500"/>
                  </a:lnTo>
                  <a:lnTo>
                    <a:pt x="1013345" y="1117600"/>
                  </a:lnTo>
                  <a:lnTo>
                    <a:pt x="1013561" y="1041400"/>
                  </a:lnTo>
                  <a:lnTo>
                    <a:pt x="1014120" y="939800"/>
                  </a:lnTo>
                  <a:lnTo>
                    <a:pt x="1014730" y="863600"/>
                  </a:lnTo>
                  <a:lnTo>
                    <a:pt x="1015288" y="812800"/>
                  </a:lnTo>
                  <a:lnTo>
                    <a:pt x="1015542" y="800100"/>
                  </a:lnTo>
                  <a:lnTo>
                    <a:pt x="1016241" y="749300"/>
                  </a:lnTo>
                  <a:close/>
                </a:path>
              </a:pathLst>
            </a:custGeom>
            <a:solidFill>
              <a:srgbClr val="E4DFCD"/>
            </a:solidFill>
          </p:spPr>
          <p:txBody>
            <a:bodyPr wrap="square" lIns="0" tIns="0" rIns="0" bIns="0" rtlCol="0"/>
            <a:lstStyle/>
            <a:p>
              <a:pPr defTabSz="609630"/>
              <a:endParaRPr sz="1200" kern="0">
                <a:solidFill>
                  <a:sysClr val="windowText" lastClr="000000"/>
                </a:solidFill>
              </a:endParaRPr>
            </a:p>
          </p:txBody>
        </p:sp>
      </p:grpSp>
      <p:sp>
        <p:nvSpPr>
          <p:cNvPr id="8" name="object 8"/>
          <p:cNvSpPr/>
          <p:nvPr/>
        </p:nvSpPr>
        <p:spPr>
          <a:xfrm>
            <a:off x="6895051" y="4644748"/>
            <a:ext cx="2057400" cy="2057400"/>
          </a:xfrm>
          <a:custGeom>
            <a:avLst/>
            <a:gdLst/>
            <a:ahLst/>
            <a:cxnLst/>
            <a:rect l="l" t="t" r="r" b="b"/>
            <a:pathLst>
              <a:path w="3086100" h="3086100">
                <a:moveTo>
                  <a:pt x="2600324" y="3086099"/>
                </a:moveTo>
                <a:lnTo>
                  <a:pt x="485774" y="3086099"/>
                </a:lnTo>
                <a:lnTo>
                  <a:pt x="437762" y="3083722"/>
                </a:lnTo>
                <a:lnTo>
                  <a:pt x="390562" y="3076679"/>
                </a:lnTo>
                <a:lnTo>
                  <a:pt x="344494" y="3065102"/>
                </a:lnTo>
                <a:lnTo>
                  <a:pt x="299876" y="3049122"/>
                </a:lnTo>
                <a:lnTo>
                  <a:pt x="257028" y="3028872"/>
                </a:lnTo>
                <a:lnTo>
                  <a:pt x="216266" y="3004484"/>
                </a:lnTo>
                <a:lnTo>
                  <a:pt x="177911" y="2976089"/>
                </a:lnTo>
                <a:lnTo>
                  <a:pt x="142280" y="2943819"/>
                </a:lnTo>
                <a:lnTo>
                  <a:pt x="110010" y="2908188"/>
                </a:lnTo>
                <a:lnTo>
                  <a:pt x="81615" y="2869833"/>
                </a:lnTo>
                <a:lnTo>
                  <a:pt x="57227" y="2829071"/>
                </a:lnTo>
                <a:lnTo>
                  <a:pt x="36977" y="2786223"/>
                </a:lnTo>
                <a:lnTo>
                  <a:pt x="20997" y="2741605"/>
                </a:lnTo>
                <a:lnTo>
                  <a:pt x="9420" y="2695537"/>
                </a:lnTo>
                <a:lnTo>
                  <a:pt x="2377" y="2648337"/>
                </a:lnTo>
                <a:lnTo>
                  <a:pt x="0" y="2600324"/>
                </a:lnTo>
                <a:lnTo>
                  <a:pt x="0" y="485774"/>
                </a:lnTo>
                <a:lnTo>
                  <a:pt x="2377" y="437762"/>
                </a:lnTo>
                <a:lnTo>
                  <a:pt x="9420" y="390562"/>
                </a:lnTo>
                <a:lnTo>
                  <a:pt x="20997" y="344494"/>
                </a:lnTo>
                <a:lnTo>
                  <a:pt x="36977" y="299876"/>
                </a:lnTo>
                <a:lnTo>
                  <a:pt x="57227" y="257028"/>
                </a:lnTo>
                <a:lnTo>
                  <a:pt x="81615" y="216266"/>
                </a:lnTo>
                <a:lnTo>
                  <a:pt x="110010" y="177911"/>
                </a:lnTo>
                <a:lnTo>
                  <a:pt x="142280" y="142280"/>
                </a:lnTo>
                <a:lnTo>
                  <a:pt x="177911" y="110010"/>
                </a:lnTo>
                <a:lnTo>
                  <a:pt x="216266" y="81616"/>
                </a:lnTo>
                <a:lnTo>
                  <a:pt x="257028" y="57227"/>
                </a:lnTo>
                <a:lnTo>
                  <a:pt x="299876" y="36977"/>
                </a:lnTo>
                <a:lnTo>
                  <a:pt x="344494" y="20997"/>
                </a:lnTo>
                <a:lnTo>
                  <a:pt x="390562" y="9420"/>
                </a:lnTo>
                <a:lnTo>
                  <a:pt x="437762" y="2377"/>
                </a:lnTo>
                <a:lnTo>
                  <a:pt x="485774" y="0"/>
                </a:lnTo>
                <a:lnTo>
                  <a:pt x="2600324" y="0"/>
                </a:lnTo>
                <a:lnTo>
                  <a:pt x="2648338" y="2377"/>
                </a:lnTo>
                <a:lnTo>
                  <a:pt x="2695537" y="9420"/>
                </a:lnTo>
                <a:lnTo>
                  <a:pt x="2741605" y="20997"/>
                </a:lnTo>
                <a:lnTo>
                  <a:pt x="2786223" y="36977"/>
                </a:lnTo>
                <a:lnTo>
                  <a:pt x="2829072" y="57227"/>
                </a:lnTo>
                <a:lnTo>
                  <a:pt x="2869833" y="81616"/>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4"/>
                </a:lnTo>
                <a:lnTo>
                  <a:pt x="3086099" y="2600324"/>
                </a:lnTo>
                <a:lnTo>
                  <a:pt x="3083722" y="2648337"/>
                </a:lnTo>
                <a:lnTo>
                  <a:pt x="3076679" y="2695537"/>
                </a:lnTo>
                <a:lnTo>
                  <a:pt x="3065102" y="2741605"/>
                </a:lnTo>
                <a:lnTo>
                  <a:pt x="3049122" y="2786223"/>
                </a:lnTo>
                <a:lnTo>
                  <a:pt x="3028872" y="2829071"/>
                </a:lnTo>
                <a:lnTo>
                  <a:pt x="3004484" y="2869833"/>
                </a:lnTo>
                <a:lnTo>
                  <a:pt x="2976089" y="2908188"/>
                </a:lnTo>
                <a:lnTo>
                  <a:pt x="2943820" y="2943819"/>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sp>
        <p:nvSpPr>
          <p:cNvPr id="9" name="object 9"/>
          <p:cNvSpPr/>
          <p:nvPr/>
        </p:nvSpPr>
        <p:spPr>
          <a:xfrm>
            <a:off x="6895051" y="2400299"/>
            <a:ext cx="2057400" cy="2057400"/>
          </a:xfrm>
          <a:custGeom>
            <a:avLst/>
            <a:gdLst/>
            <a:ahLst/>
            <a:cxnLst/>
            <a:rect l="l" t="t" r="r" b="b"/>
            <a:pathLst>
              <a:path w="3086100" h="3086100">
                <a:moveTo>
                  <a:pt x="2600324" y="3086099"/>
                </a:moveTo>
                <a:lnTo>
                  <a:pt x="485774" y="3086099"/>
                </a:lnTo>
                <a:lnTo>
                  <a:pt x="437762" y="3083722"/>
                </a:lnTo>
                <a:lnTo>
                  <a:pt x="390562" y="3076679"/>
                </a:lnTo>
                <a:lnTo>
                  <a:pt x="344494" y="3065102"/>
                </a:lnTo>
                <a:lnTo>
                  <a:pt x="299876" y="3049122"/>
                </a:lnTo>
                <a:lnTo>
                  <a:pt x="257028" y="3028872"/>
                </a:lnTo>
                <a:lnTo>
                  <a:pt x="216266" y="3004484"/>
                </a:lnTo>
                <a:lnTo>
                  <a:pt x="177911" y="2976089"/>
                </a:lnTo>
                <a:lnTo>
                  <a:pt x="142280" y="2943820"/>
                </a:lnTo>
                <a:lnTo>
                  <a:pt x="110010" y="2908189"/>
                </a:lnTo>
                <a:lnTo>
                  <a:pt x="81615" y="2869833"/>
                </a:lnTo>
                <a:lnTo>
                  <a:pt x="57227" y="2829071"/>
                </a:lnTo>
                <a:lnTo>
                  <a:pt x="36977" y="2786223"/>
                </a:lnTo>
                <a:lnTo>
                  <a:pt x="20997" y="2741605"/>
                </a:lnTo>
                <a:lnTo>
                  <a:pt x="9420" y="2695537"/>
                </a:lnTo>
                <a:lnTo>
                  <a:pt x="2377" y="2648337"/>
                </a:lnTo>
                <a:lnTo>
                  <a:pt x="0" y="2600324"/>
                </a:lnTo>
                <a:lnTo>
                  <a:pt x="0" y="485774"/>
                </a:lnTo>
                <a:lnTo>
                  <a:pt x="2377" y="437762"/>
                </a:lnTo>
                <a:lnTo>
                  <a:pt x="9420" y="390562"/>
                </a:lnTo>
                <a:lnTo>
                  <a:pt x="20997" y="344494"/>
                </a:lnTo>
                <a:lnTo>
                  <a:pt x="36977" y="299876"/>
                </a:lnTo>
                <a:lnTo>
                  <a:pt x="57227" y="257028"/>
                </a:lnTo>
                <a:lnTo>
                  <a:pt x="81615" y="216266"/>
                </a:lnTo>
                <a:lnTo>
                  <a:pt x="110010" y="177911"/>
                </a:lnTo>
                <a:lnTo>
                  <a:pt x="142280" y="142280"/>
                </a:lnTo>
                <a:lnTo>
                  <a:pt x="177911" y="110010"/>
                </a:lnTo>
                <a:lnTo>
                  <a:pt x="216266" y="81615"/>
                </a:lnTo>
                <a:lnTo>
                  <a:pt x="257028" y="57227"/>
                </a:lnTo>
                <a:lnTo>
                  <a:pt x="299876" y="36977"/>
                </a:lnTo>
                <a:lnTo>
                  <a:pt x="344494" y="20997"/>
                </a:lnTo>
                <a:lnTo>
                  <a:pt x="390562" y="9420"/>
                </a:lnTo>
                <a:lnTo>
                  <a:pt x="437762" y="2377"/>
                </a:lnTo>
                <a:lnTo>
                  <a:pt x="485774" y="0"/>
                </a:lnTo>
                <a:lnTo>
                  <a:pt x="2600324" y="0"/>
                </a:lnTo>
                <a:lnTo>
                  <a:pt x="2648338" y="2377"/>
                </a:lnTo>
                <a:lnTo>
                  <a:pt x="2695537" y="9420"/>
                </a:lnTo>
                <a:lnTo>
                  <a:pt x="2741605" y="20997"/>
                </a:lnTo>
                <a:lnTo>
                  <a:pt x="2786223" y="36977"/>
                </a:lnTo>
                <a:lnTo>
                  <a:pt x="2829072" y="57227"/>
                </a:lnTo>
                <a:lnTo>
                  <a:pt x="2869833" y="81615"/>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4"/>
                </a:lnTo>
                <a:lnTo>
                  <a:pt x="3086099" y="2600324"/>
                </a:lnTo>
                <a:lnTo>
                  <a:pt x="3083722" y="2648337"/>
                </a:lnTo>
                <a:lnTo>
                  <a:pt x="3076679" y="2695537"/>
                </a:lnTo>
                <a:lnTo>
                  <a:pt x="3065102" y="2741605"/>
                </a:lnTo>
                <a:lnTo>
                  <a:pt x="3049122" y="2786223"/>
                </a:lnTo>
                <a:lnTo>
                  <a:pt x="3028872" y="2829071"/>
                </a:lnTo>
                <a:lnTo>
                  <a:pt x="3004484" y="2869833"/>
                </a:lnTo>
                <a:lnTo>
                  <a:pt x="2976089" y="2908189"/>
                </a:lnTo>
                <a:lnTo>
                  <a:pt x="2943820" y="2943820"/>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sp>
        <p:nvSpPr>
          <p:cNvPr id="10" name="object 10"/>
          <p:cNvSpPr/>
          <p:nvPr/>
        </p:nvSpPr>
        <p:spPr>
          <a:xfrm>
            <a:off x="9260318" y="2384425"/>
            <a:ext cx="2057400" cy="2057400"/>
          </a:xfrm>
          <a:custGeom>
            <a:avLst/>
            <a:gdLst/>
            <a:ahLst/>
            <a:cxnLst/>
            <a:rect l="l" t="t" r="r" b="b"/>
            <a:pathLst>
              <a:path w="3086100" h="3086100">
                <a:moveTo>
                  <a:pt x="2600324" y="3086099"/>
                </a:moveTo>
                <a:lnTo>
                  <a:pt x="485774" y="3086099"/>
                </a:lnTo>
                <a:lnTo>
                  <a:pt x="437761" y="3083722"/>
                </a:lnTo>
                <a:lnTo>
                  <a:pt x="390562" y="3076679"/>
                </a:lnTo>
                <a:lnTo>
                  <a:pt x="344494" y="3065102"/>
                </a:lnTo>
                <a:lnTo>
                  <a:pt x="299876" y="3049122"/>
                </a:lnTo>
                <a:lnTo>
                  <a:pt x="257027" y="3028872"/>
                </a:lnTo>
                <a:lnTo>
                  <a:pt x="216266" y="3004484"/>
                </a:lnTo>
                <a:lnTo>
                  <a:pt x="177910" y="2976089"/>
                </a:lnTo>
                <a:lnTo>
                  <a:pt x="142279" y="2943820"/>
                </a:lnTo>
                <a:lnTo>
                  <a:pt x="110010" y="2908189"/>
                </a:lnTo>
                <a:lnTo>
                  <a:pt x="81615" y="2869833"/>
                </a:lnTo>
                <a:lnTo>
                  <a:pt x="57227" y="2829071"/>
                </a:lnTo>
                <a:lnTo>
                  <a:pt x="36977" y="2786223"/>
                </a:lnTo>
                <a:lnTo>
                  <a:pt x="20997" y="2741605"/>
                </a:lnTo>
                <a:lnTo>
                  <a:pt x="9420" y="2695537"/>
                </a:lnTo>
                <a:lnTo>
                  <a:pt x="2377" y="2648337"/>
                </a:lnTo>
                <a:lnTo>
                  <a:pt x="0" y="2600324"/>
                </a:lnTo>
                <a:lnTo>
                  <a:pt x="0" y="485774"/>
                </a:lnTo>
                <a:lnTo>
                  <a:pt x="2377" y="437762"/>
                </a:lnTo>
                <a:lnTo>
                  <a:pt x="9420" y="390562"/>
                </a:lnTo>
                <a:lnTo>
                  <a:pt x="20997" y="344494"/>
                </a:lnTo>
                <a:lnTo>
                  <a:pt x="36977" y="299876"/>
                </a:lnTo>
                <a:lnTo>
                  <a:pt x="57227" y="257028"/>
                </a:lnTo>
                <a:lnTo>
                  <a:pt x="81615" y="216266"/>
                </a:lnTo>
                <a:lnTo>
                  <a:pt x="110010" y="177911"/>
                </a:lnTo>
                <a:lnTo>
                  <a:pt x="142279" y="142280"/>
                </a:lnTo>
                <a:lnTo>
                  <a:pt x="177910" y="110010"/>
                </a:lnTo>
                <a:lnTo>
                  <a:pt x="216266" y="81615"/>
                </a:lnTo>
                <a:lnTo>
                  <a:pt x="257027" y="57227"/>
                </a:lnTo>
                <a:lnTo>
                  <a:pt x="299876" y="36977"/>
                </a:lnTo>
                <a:lnTo>
                  <a:pt x="344494" y="20997"/>
                </a:lnTo>
                <a:lnTo>
                  <a:pt x="390562" y="9420"/>
                </a:lnTo>
                <a:lnTo>
                  <a:pt x="437761" y="2377"/>
                </a:lnTo>
                <a:lnTo>
                  <a:pt x="485774" y="0"/>
                </a:lnTo>
                <a:lnTo>
                  <a:pt x="2600324" y="0"/>
                </a:lnTo>
                <a:lnTo>
                  <a:pt x="2648338" y="2377"/>
                </a:lnTo>
                <a:lnTo>
                  <a:pt x="2695537" y="9420"/>
                </a:lnTo>
                <a:lnTo>
                  <a:pt x="2741605" y="20997"/>
                </a:lnTo>
                <a:lnTo>
                  <a:pt x="2786223" y="36977"/>
                </a:lnTo>
                <a:lnTo>
                  <a:pt x="2829072" y="57227"/>
                </a:lnTo>
                <a:lnTo>
                  <a:pt x="2869833" y="81615"/>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4"/>
                </a:lnTo>
                <a:lnTo>
                  <a:pt x="3086099" y="2600324"/>
                </a:lnTo>
                <a:lnTo>
                  <a:pt x="3083722" y="2648337"/>
                </a:lnTo>
                <a:lnTo>
                  <a:pt x="3076679" y="2695537"/>
                </a:lnTo>
                <a:lnTo>
                  <a:pt x="3065102" y="2741605"/>
                </a:lnTo>
                <a:lnTo>
                  <a:pt x="3049122" y="2786223"/>
                </a:lnTo>
                <a:lnTo>
                  <a:pt x="3028872" y="2829071"/>
                </a:lnTo>
                <a:lnTo>
                  <a:pt x="3004484" y="2869833"/>
                </a:lnTo>
                <a:lnTo>
                  <a:pt x="2976089" y="2908189"/>
                </a:lnTo>
                <a:lnTo>
                  <a:pt x="2943820" y="2943820"/>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sp>
        <p:nvSpPr>
          <p:cNvPr id="11" name="object 11"/>
          <p:cNvSpPr/>
          <p:nvPr/>
        </p:nvSpPr>
        <p:spPr>
          <a:xfrm>
            <a:off x="9260318" y="183739"/>
            <a:ext cx="2057400" cy="2057400"/>
          </a:xfrm>
          <a:custGeom>
            <a:avLst/>
            <a:gdLst/>
            <a:ahLst/>
            <a:cxnLst/>
            <a:rect l="l" t="t" r="r" b="b"/>
            <a:pathLst>
              <a:path w="3086100" h="3086100">
                <a:moveTo>
                  <a:pt x="2600324" y="3086099"/>
                </a:moveTo>
                <a:lnTo>
                  <a:pt x="485774" y="3086099"/>
                </a:lnTo>
                <a:lnTo>
                  <a:pt x="437761" y="3083722"/>
                </a:lnTo>
                <a:lnTo>
                  <a:pt x="390562" y="3076679"/>
                </a:lnTo>
                <a:lnTo>
                  <a:pt x="344494" y="3065102"/>
                </a:lnTo>
                <a:lnTo>
                  <a:pt x="299876" y="3049122"/>
                </a:lnTo>
                <a:lnTo>
                  <a:pt x="257027" y="3028872"/>
                </a:lnTo>
                <a:lnTo>
                  <a:pt x="216266" y="3004484"/>
                </a:lnTo>
                <a:lnTo>
                  <a:pt x="177910" y="2976089"/>
                </a:lnTo>
                <a:lnTo>
                  <a:pt x="142279" y="2943819"/>
                </a:lnTo>
                <a:lnTo>
                  <a:pt x="110010" y="2908188"/>
                </a:lnTo>
                <a:lnTo>
                  <a:pt x="81615" y="2869833"/>
                </a:lnTo>
                <a:lnTo>
                  <a:pt x="57227" y="2829071"/>
                </a:lnTo>
                <a:lnTo>
                  <a:pt x="36977" y="2786223"/>
                </a:lnTo>
                <a:lnTo>
                  <a:pt x="20997" y="2741605"/>
                </a:lnTo>
                <a:lnTo>
                  <a:pt x="9420" y="2695537"/>
                </a:lnTo>
                <a:lnTo>
                  <a:pt x="2377" y="2648337"/>
                </a:lnTo>
                <a:lnTo>
                  <a:pt x="0" y="2600325"/>
                </a:lnTo>
                <a:lnTo>
                  <a:pt x="0" y="485775"/>
                </a:lnTo>
                <a:lnTo>
                  <a:pt x="2377" y="437762"/>
                </a:lnTo>
                <a:lnTo>
                  <a:pt x="9420" y="390562"/>
                </a:lnTo>
                <a:lnTo>
                  <a:pt x="20997" y="344494"/>
                </a:lnTo>
                <a:lnTo>
                  <a:pt x="36977" y="299876"/>
                </a:lnTo>
                <a:lnTo>
                  <a:pt x="57227" y="257028"/>
                </a:lnTo>
                <a:lnTo>
                  <a:pt x="81615" y="216266"/>
                </a:lnTo>
                <a:lnTo>
                  <a:pt x="110010" y="177911"/>
                </a:lnTo>
                <a:lnTo>
                  <a:pt x="142279" y="142280"/>
                </a:lnTo>
                <a:lnTo>
                  <a:pt x="177910" y="110010"/>
                </a:lnTo>
                <a:lnTo>
                  <a:pt x="216266" y="81615"/>
                </a:lnTo>
                <a:lnTo>
                  <a:pt x="257027" y="57227"/>
                </a:lnTo>
                <a:lnTo>
                  <a:pt x="299876" y="36977"/>
                </a:lnTo>
                <a:lnTo>
                  <a:pt x="344494" y="20997"/>
                </a:lnTo>
                <a:lnTo>
                  <a:pt x="390562" y="9420"/>
                </a:lnTo>
                <a:lnTo>
                  <a:pt x="437761" y="2377"/>
                </a:lnTo>
                <a:lnTo>
                  <a:pt x="485774" y="0"/>
                </a:lnTo>
                <a:lnTo>
                  <a:pt x="2600324" y="0"/>
                </a:lnTo>
                <a:lnTo>
                  <a:pt x="2648338" y="2377"/>
                </a:lnTo>
                <a:lnTo>
                  <a:pt x="2695537" y="9420"/>
                </a:lnTo>
                <a:lnTo>
                  <a:pt x="2741605" y="20997"/>
                </a:lnTo>
                <a:lnTo>
                  <a:pt x="2786223" y="36977"/>
                </a:lnTo>
                <a:lnTo>
                  <a:pt x="2829072" y="57227"/>
                </a:lnTo>
                <a:lnTo>
                  <a:pt x="2869833" y="81615"/>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5"/>
                </a:lnTo>
                <a:lnTo>
                  <a:pt x="3086099" y="2600325"/>
                </a:lnTo>
                <a:lnTo>
                  <a:pt x="3083722" y="2648337"/>
                </a:lnTo>
                <a:lnTo>
                  <a:pt x="3076679" y="2695537"/>
                </a:lnTo>
                <a:lnTo>
                  <a:pt x="3065102" y="2741605"/>
                </a:lnTo>
                <a:lnTo>
                  <a:pt x="3049122" y="2786223"/>
                </a:lnTo>
                <a:lnTo>
                  <a:pt x="3028872" y="2829071"/>
                </a:lnTo>
                <a:lnTo>
                  <a:pt x="3004484" y="2869833"/>
                </a:lnTo>
                <a:lnTo>
                  <a:pt x="2976089" y="2908188"/>
                </a:lnTo>
                <a:lnTo>
                  <a:pt x="2943820" y="2943819"/>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grpSp>
        <p:nvGrpSpPr>
          <p:cNvPr id="12" name="object 12"/>
          <p:cNvGrpSpPr/>
          <p:nvPr/>
        </p:nvGrpSpPr>
        <p:grpSpPr>
          <a:xfrm>
            <a:off x="7033298" y="2522672"/>
            <a:ext cx="1781387" cy="1778000"/>
            <a:chOff x="10549947" y="3784008"/>
            <a:chExt cx="2672080" cy="2667000"/>
          </a:xfrm>
        </p:grpSpPr>
        <p:sp>
          <p:nvSpPr>
            <p:cNvPr id="13" name="object 13"/>
            <p:cNvSpPr/>
            <p:nvPr/>
          </p:nvSpPr>
          <p:spPr>
            <a:xfrm>
              <a:off x="10930914" y="5000624"/>
              <a:ext cx="1909445" cy="238125"/>
            </a:xfrm>
            <a:custGeom>
              <a:avLst/>
              <a:gdLst/>
              <a:ahLst/>
              <a:cxnLst/>
              <a:rect l="l" t="t" r="r" b="b"/>
              <a:pathLst>
                <a:path w="1909445" h="238125">
                  <a:moveTo>
                    <a:pt x="0" y="0"/>
                  </a:moveTo>
                  <a:lnTo>
                    <a:pt x="1909422" y="0"/>
                  </a:lnTo>
                  <a:lnTo>
                    <a:pt x="1909422" y="238124"/>
                  </a:lnTo>
                  <a:lnTo>
                    <a:pt x="0" y="238124"/>
                  </a:lnTo>
                  <a:lnTo>
                    <a:pt x="0" y="0"/>
                  </a:lnTo>
                  <a:close/>
                </a:path>
              </a:pathLst>
            </a:custGeom>
            <a:solidFill>
              <a:srgbClr val="F5F5F5"/>
            </a:solidFill>
          </p:spPr>
          <p:txBody>
            <a:bodyPr wrap="square" lIns="0" tIns="0" rIns="0" bIns="0" rtlCol="0"/>
            <a:lstStyle/>
            <a:p>
              <a:pPr defTabSz="609630"/>
              <a:endParaRPr sz="1200" kern="0">
                <a:solidFill>
                  <a:sysClr val="windowText" lastClr="000000"/>
                </a:solidFill>
              </a:endParaRPr>
            </a:p>
          </p:txBody>
        </p:sp>
        <p:sp>
          <p:nvSpPr>
            <p:cNvPr id="14" name="object 14"/>
            <p:cNvSpPr/>
            <p:nvPr/>
          </p:nvSpPr>
          <p:spPr>
            <a:xfrm>
              <a:off x="10930914" y="4762499"/>
              <a:ext cx="1909445" cy="714375"/>
            </a:xfrm>
            <a:custGeom>
              <a:avLst/>
              <a:gdLst/>
              <a:ahLst/>
              <a:cxnLst/>
              <a:rect l="l" t="t" r="r" b="b"/>
              <a:pathLst>
                <a:path w="1909445" h="714375">
                  <a:moveTo>
                    <a:pt x="476249" y="0"/>
                  </a:moveTo>
                  <a:lnTo>
                    <a:pt x="0" y="357187"/>
                  </a:lnTo>
                  <a:lnTo>
                    <a:pt x="476249" y="714374"/>
                  </a:lnTo>
                </a:path>
                <a:path w="1909445" h="714375">
                  <a:moveTo>
                    <a:pt x="1433172" y="0"/>
                  </a:moveTo>
                  <a:lnTo>
                    <a:pt x="1909422" y="357187"/>
                  </a:lnTo>
                  <a:lnTo>
                    <a:pt x="1433172" y="714374"/>
                  </a:lnTo>
                </a:path>
              </a:pathLst>
            </a:custGeom>
            <a:ln w="238124">
              <a:solidFill>
                <a:srgbClr val="F5F5F5"/>
              </a:solidFill>
            </a:ln>
          </p:spPr>
          <p:txBody>
            <a:bodyPr wrap="square" lIns="0" tIns="0" rIns="0" bIns="0" rtlCol="0"/>
            <a:lstStyle/>
            <a:p>
              <a:pPr defTabSz="609630"/>
              <a:endParaRPr sz="1200" kern="0">
                <a:solidFill>
                  <a:sysClr val="windowText" lastClr="000000"/>
                </a:solidFill>
              </a:endParaRPr>
            </a:p>
          </p:txBody>
        </p:sp>
        <p:sp>
          <p:nvSpPr>
            <p:cNvPr id="15" name="object 15"/>
            <p:cNvSpPr/>
            <p:nvPr/>
          </p:nvSpPr>
          <p:spPr>
            <a:xfrm>
              <a:off x="10549941" y="3784015"/>
              <a:ext cx="2672080" cy="2667000"/>
            </a:xfrm>
            <a:custGeom>
              <a:avLst/>
              <a:gdLst/>
              <a:ahLst/>
              <a:cxnLst/>
              <a:rect l="l" t="t" r="r" b="b"/>
              <a:pathLst>
                <a:path w="2672080" h="2667000">
                  <a:moveTo>
                    <a:pt x="2671927" y="1333500"/>
                  </a:moveTo>
                  <a:lnTo>
                    <a:pt x="2671076" y="1282700"/>
                  </a:lnTo>
                  <a:lnTo>
                    <a:pt x="2668562" y="1231900"/>
                  </a:lnTo>
                  <a:lnTo>
                    <a:pt x="2664409" y="1181100"/>
                  </a:lnTo>
                  <a:lnTo>
                    <a:pt x="2658630" y="1143000"/>
                  </a:lnTo>
                  <a:lnTo>
                    <a:pt x="2651277" y="1092200"/>
                  </a:lnTo>
                  <a:lnTo>
                    <a:pt x="2642362" y="1054100"/>
                  </a:lnTo>
                  <a:lnTo>
                    <a:pt x="2631922" y="1003300"/>
                  </a:lnTo>
                  <a:lnTo>
                    <a:pt x="2619972" y="965200"/>
                  </a:lnTo>
                  <a:lnTo>
                    <a:pt x="2606560" y="914400"/>
                  </a:lnTo>
                  <a:lnTo>
                    <a:pt x="2591701" y="876300"/>
                  </a:lnTo>
                  <a:lnTo>
                    <a:pt x="2575433" y="825500"/>
                  </a:lnTo>
                  <a:lnTo>
                    <a:pt x="2557767" y="787400"/>
                  </a:lnTo>
                  <a:lnTo>
                    <a:pt x="2538755" y="749300"/>
                  </a:lnTo>
                  <a:lnTo>
                    <a:pt x="2518410" y="711200"/>
                  </a:lnTo>
                  <a:lnTo>
                    <a:pt x="2496756" y="673100"/>
                  </a:lnTo>
                  <a:lnTo>
                    <a:pt x="2486075" y="655345"/>
                  </a:lnTo>
                  <a:lnTo>
                    <a:pt x="2486075" y="1333500"/>
                  </a:lnTo>
                  <a:lnTo>
                    <a:pt x="2485059" y="1384300"/>
                  </a:lnTo>
                  <a:lnTo>
                    <a:pt x="2482062" y="1422400"/>
                  </a:lnTo>
                  <a:lnTo>
                    <a:pt x="2477097" y="1473200"/>
                  </a:lnTo>
                  <a:lnTo>
                    <a:pt x="2470226" y="1524000"/>
                  </a:lnTo>
                  <a:lnTo>
                    <a:pt x="2461476" y="1562100"/>
                  </a:lnTo>
                  <a:lnTo>
                    <a:pt x="2450884" y="1612900"/>
                  </a:lnTo>
                  <a:lnTo>
                    <a:pt x="2438514" y="1663700"/>
                  </a:lnTo>
                  <a:lnTo>
                    <a:pt x="2424379" y="1701800"/>
                  </a:lnTo>
                  <a:lnTo>
                    <a:pt x="2408529" y="1739900"/>
                  </a:lnTo>
                  <a:lnTo>
                    <a:pt x="2391016" y="1790700"/>
                  </a:lnTo>
                  <a:lnTo>
                    <a:pt x="2371864" y="1828800"/>
                  </a:lnTo>
                  <a:lnTo>
                    <a:pt x="2351113" y="1866900"/>
                  </a:lnTo>
                  <a:lnTo>
                    <a:pt x="2328824" y="1905000"/>
                  </a:lnTo>
                  <a:lnTo>
                    <a:pt x="2305012" y="1943100"/>
                  </a:lnTo>
                  <a:lnTo>
                    <a:pt x="2279726" y="1981200"/>
                  </a:lnTo>
                  <a:lnTo>
                    <a:pt x="2253018" y="2019300"/>
                  </a:lnTo>
                  <a:lnTo>
                    <a:pt x="2224913" y="2057400"/>
                  </a:lnTo>
                  <a:lnTo>
                    <a:pt x="2195461" y="2095500"/>
                  </a:lnTo>
                  <a:lnTo>
                    <a:pt x="2164689" y="2120900"/>
                  </a:lnTo>
                  <a:lnTo>
                    <a:pt x="2132647" y="2159000"/>
                  </a:lnTo>
                  <a:lnTo>
                    <a:pt x="2099386" y="2184400"/>
                  </a:lnTo>
                  <a:lnTo>
                    <a:pt x="2064918" y="2222500"/>
                  </a:lnTo>
                  <a:lnTo>
                    <a:pt x="2029307" y="2247900"/>
                  </a:lnTo>
                  <a:lnTo>
                    <a:pt x="1992591" y="2273300"/>
                  </a:lnTo>
                  <a:lnTo>
                    <a:pt x="1954809" y="2298700"/>
                  </a:lnTo>
                  <a:lnTo>
                    <a:pt x="1915985" y="2324100"/>
                  </a:lnTo>
                  <a:lnTo>
                    <a:pt x="1876183" y="2349500"/>
                  </a:lnTo>
                  <a:lnTo>
                    <a:pt x="1835416" y="2362200"/>
                  </a:lnTo>
                  <a:lnTo>
                    <a:pt x="1793760" y="2387600"/>
                  </a:lnTo>
                  <a:lnTo>
                    <a:pt x="1707857" y="2413000"/>
                  </a:lnTo>
                  <a:lnTo>
                    <a:pt x="1663700" y="2438400"/>
                  </a:lnTo>
                  <a:lnTo>
                    <a:pt x="1618805" y="2438400"/>
                  </a:lnTo>
                  <a:lnTo>
                    <a:pt x="1480032" y="2476500"/>
                  </a:lnTo>
                  <a:lnTo>
                    <a:pt x="1191895" y="2476500"/>
                  </a:lnTo>
                  <a:lnTo>
                    <a:pt x="1053109" y="2438400"/>
                  </a:lnTo>
                  <a:lnTo>
                    <a:pt x="1008214" y="2438400"/>
                  </a:lnTo>
                  <a:lnTo>
                    <a:pt x="964057" y="2413000"/>
                  </a:lnTo>
                  <a:lnTo>
                    <a:pt x="878154" y="2387600"/>
                  </a:lnTo>
                  <a:lnTo>
                    <a:pt x="836498" y="2362200"/>
                  </a:lnTo>
                  <a:lnTo>
                    <a:pt x="795731" y="2349500"/>
                  </a:lnTo>
                  <a:lnTo>
                    <a:pt x="755929" y="2324100"/>
                  </a:lnTo>
                  <a:lnTo>
                    <a:pt x="717105" y="2298700"/>
                  </a:lnTo>
                  <a:lnTo>
                    <a:pt x="679323" y="2273300"/>
                  </a:lnTo>
                  <a:lnTo>
                    <a:pt x="665657" y="2263864"/>
                  </a:lnTo>
                  <a:lnTo>
                    <a:pt x="2201075" y="576351"/>
                  </a:lnTo>
                  <a:lnTo>
                    <a:pt x="2253018" y="635000"/>
                  </a:lnTo>
                  <a:lnTo>
                    <a:pt x="2279726" y="673100"/>
                  </a:lnTo>
                  <a:lnTo>
                    <a:pt x="2305012" y="711200"/>
                  </a:lnTo>
                  <a:lnTo>
                    <a:pt x="2328824" y="749300"/>
                  </a:lnTo>
                  <a:lnTo>
                    <a:pt x="2351113" y="787400"/>
                  </a:lnTo>
                  <a:lnTo>
                    <a:pt x="2371864" y="825500"/>
                  </a:lnTo>
                  <a:lnTo>
                    <a:pt x="2391016" y="876300"/>
                  </a:lnTo>
                  <a:lnTo>
                    <a:pt x="2408529" y="914400"/>
                  </a:lnTo>
                  <a:lnTo>
                    <a:pt x="2424379" y="952500"/>
                  </a:lnTo>
                  <a:lnTo>
                    <a:pt x="2438514" y="1003300"/>
                  </a:lnTo>
                  <a:lnTo>
                    <a:pt x="2450884" y="1041400"/>
                  </a:lnTo>
                  <a:lnTo>
                    <a:pt x="2461476" y="1092200"/>
                  </a:lnTo>
                  <a:lnTo>
                    <a:pt x="2470226" y="1143000"/>
                  </a:lnTo>
                  <a:lnTo>
                    <a:pt x="2477097" y="1181100"/>
                  </a:lnTo>
                  <a:lnTo>
                    <a:pt x="2482062" y="1231900"/>
                  </a:lnTo>
                  <a:lnTo>
                    <a:pt x="2485059" y="1282700"/>
                  </a:lnTo>
                  <a:lnTo>
                    <a:pt x="2486075" y="1333500"/>
                  </a:lnTo>
                  <a:lnTo>
                    <a:pt x="2486075" y="655345"/>
                  </a:lnTo>
                  <a:lnTo>
                    <a:pt x="2449677" y="596900"/>
                  </a:lnTo>
                  <a:lnTo>
                    <a:pt x="2424303" y="558800"/>
                  </a:lnTo>
                  <a:lnTo>
                    <a:pt x="2397734" y="520700"/>
                  </a:lnTo>
                  <a:lnTo>
                    <a:pt x="2370010" y="482600"/>
                  </a:lnTo>
                  <a:lnTo>
                    <a:pt x="2341156" y="444500"/>
                  </a:lnTo>
                  <a:lnTo>
                    <a:pt x="2311209" y="419100"/>
                  </a:lnTo>
                  <a:lnTo>
                    <a:pt x="2280183" y="381000"/>
                  </a:lnTo>
                  <a:lnTo>
                    <a:pt x="2248103" y="355600"/>
                  </a:lnTo>
                  <a:lnTo>
                    <a:pt x="2215019" y="330200"/>
                  </a:lnTo>
                  <a:lnTo>
                    <a:pt x="2180945" y="292100"/>
                  </a:lnTo>
                  <a:lnTo>
                    <a:pt x="2145919" y="266700"/>
                  </a:lnTo>
                  <a:lnTo>
                    <a:pt x="2109952" y="241300"/>
                  </a:lnTo>
                  <a:lnTo>
                    <a:pt x="2073084" y="215900"/>
                  </a:lnTo>
                  <a:lnTo>
                    <a:pt x="2067814" y="212356"/>
                  </a:lnTo>
                  <a:lnTo>
                    <a:pt x="2067814" y="446646"/>
                  </a:lnTo>
                  <a:lnTo>
                    <a:pt x="525106" y="2142172"/>
                  </a:lnTo>
                  <a:lnTo>
                    <a:pt x="507225" y="2120900"/>
                  </a:lnTo>
                  <a:lnTo>
                    <a:pt x="476453" y="2095500"/>
                  </a:lnTo>
                  <a:lnTo>
                    <a:pt x="447001" y="2057400"/>
                  </a:lnTo>
                  <a:lnTo>
                    <a:pt x="418896" y="2019300"/>
                  </a:lnTo>
                  <a:lnTo>
                    <a:pt x="392188" y="1981200"/>
                  </a:lnTo>
                  <a:lnTo>
                    <a:pt x="366903" y="1943100"/>
                  </a:lnTo>
                  <a:lnTo>
                    <a:pt x="343103" y="1905000"/>
                  </a:lnTo>
                  <a:lnTo>
                    <a:pt x="320802" y="1866900"/>
                  </a:lnTo>
                  <a:lnTo>
                    <a:pt x="300062" y="1828800"/>
                  </a:lnTo>
                  <a:lnTo>
                    <a:pt x="280911" y="1790700"/>
                  </a:lnTo>
                  <a:lnTo>
                    <a:pt x="263385" y="1739900"/>
                  </a:lnTo>
                  <a:lnTo>
                    <a:pt x="247548" y="1701800"/>
                  </a:lnTo>
                  <a:lnTo>
                    <a:pt x="233413" y="1663700"/>
                  </a:lnTo>
                  <a:lnTo>
                    <a:pt x="221030" y="1612900"/>
                  </a:lnTo>
                  <a:lnTo>
                    <a:pt x="210451" y="1562100"/>
                  </a:lnTo>
                  <a:lnTo>
                    <a:pt x="201701" y="1524000"/>
                  </a:lnTo>
                  <a:lnTo>
                    <a:pt x="194830" y="1473200"/>
                  </a:lnTo>
                  <a:lnTo>
                    <a:pt x="189865" y="1422400"/>
                  </a:lnTo>
                  <a:lnTo>
                    <a:pt x="186855" y="1384300"/>
                  </a:lnTo>
                  <a:lnTo>
                    <a:pt x="185851" y="1333500"/>
                  </a:lnTo>
                  <a:lnTo>
                    <a:pt x="186855" y="1282700"/>
                  </a:lnTo>
                  <a:lnTo>
                    <a:pt x="189865" y="1231900"/>
                  </a:lnTo>
                  <a:lnTo>
                    <a:pt x="194830" y="1181100"/>
                  </a:lnTo>
                  <a:lnTo>
                    <a:pt x="201701" y="1143000"/>
                  </a:lnTo>
                  <a:lnTo>
                    <a:pt x="210451" y="1092200"/>
                  </a:lnTo>
                  <a:lnTo>
                    <a:pt x="221030" y="1041400"/>
                  </a:lnTo>
                  <a:lnTo>
                    <a:pt x="233413" y="1003300"/>
                  </a:lnTo>
                  <a:lnTo>
                    <a:pt x="247548" y="952500"/>
                  </a:lnTo>
                  <a:lnTo>
                    <a:pt x="263385" y="914400"/>
                  </a:lnTo>
                  <a:lnTo>
                    <a:pt x="280911" y="876300"/>
                  </a:lnTo>
                  <a:lnTo>
                    <a:pt x="300062" y="825500"/>
                  </a:lnTo>
                  <a:lnTo>
                    <a:pt x="320802" y="787400"/>
                  </a:lnTo>
                  <a:lnTo>
                    <a:pt x="343103" y="749300"/>
                  </a:lnTo>
                  <a:lnTo>
                    <a:pt x="366903" y="711200"/>
                  </a:lnTo>
                  <a:lnTo>
                    <a:pt x="392188" y="673100"/>
                  </a:lnTo>
                  <a:lnTo>
                    <a:pt x="418896" y="635000"/>
                  </a:lnTo>
                  <a:lnTo>
                    <a:pt x="447001" y="596900"/>
                  </a:lnTo>
                  <a:lnTo>
                    <a:pt x="476453" y="571500"/>
                  </a:lnTo>
                  <a:lnTo>
                    <a:pt x="507225" y="533400"/>
                  </a:lnTo>
                  <a:lnTo>
                    <a:pt x="539267" y="495300"/>
                  </a:lnTo>
                  <a:lnTo>
                    <a:pt x="572528" y="469900"/>
                  </a:lnTo>
                  <a:lnTo>
                    <a:pt x="606996" y="444500"/>
                  </a:lnTo>
                  <a:lnTo>
                    <a:pt x="642594" y="406400"/>
                  </a:lnTo>
                  <a:lnTo>
                    <a:pt x="679323" y="381000"/>
                  </a:lnTo>
                  <a:lnTo>
                    <a:pt x="717105" y="355600"/>
                  </a:lnTo>
                  <a:lnTo>
                    <a:pt x="755929" y="342900"/>
                  </a:lnTo>
                  <a:lnTo>
                    <a:pt x="795731" y="317500"/>
                  </a:lnTo>
                  <a:lnTo>
                    <a:pt x="836498" y="292100"/>
                  </a:lnTo>
                  <a:lnTo>
                    <a:pt x="878154" y="279400"/>
                  </a:lnTo>
                  <a:lnTo>
                    <a:pt x="920699" y="254000"/>
                  </a:lnTo>
                  <a:lnTo>
                    <a:pt x="964057" y="241300"/>
                  </a:lnTo>
                  <a:lnTo>
                    <a:pt x="1144993" y="190500"/>
                  </a:lnTo>
                  <a:lnTo>
                    <a:pt x="1191895" y="190500"/>
                  </a:lnTo>
                  <a:lnTo>
                    <a:pt x="1239380" y="177800"/>
                  </a:lnTo>
                  <a:lnTo>
                    <a:pt x="1432534" y="177800"/>
                  </a:lnTo>
                  <a:lnTo>
                    <a:pt x="1480032" y="190500"/>
                  </a:lnTo>
                  <a:lnTo>
                    <a:pt x="1526921" y="190500"/>
                  </a:lnTo>
                  <a:lnTo>
                    <a:pt x="1707857" y="241300"/>
                  </a:lnTo>
                  <a:lnTo>
                    <a:pt x="1751215" y="254000"/>
                  </a:lnTo>
                  <a:lnTo>
                    <a:pt x="1793760" y="279400"/>
                  </a:lnTo>
                  <a:lnTo>
                    <a:pt x="1835416" y="292100"/>
                  </a:lnTo>
                  <a:lnTo>
                    <a:pt x="1876183" y="317500"/>
                  </a:lnTo>
                  <a:lnTo>
                    <a:pt x="1915985" y="342900"/>
                  </a:lnTo>
                  <a:lnTo>
                    <a:pt x="1954809" y="355600"/>
                  </a:lnTo>
                  <a:lnTo>
                    <a:pt x="1992591" y="381000"/>
                  </a:lnTo>
                  <a:lnTo>
                    <a:pt x="2029307" y="406400"/>
                  </a:lnTo>
                  <a:lnTo>
                    <a:pt x="2064918" y="444500"/>
                  </a:lnTo>
                  <a:lnTo>
                    <a:pt x="2067814" y="446646"/>
                  </a:lnTo>
                  <a:lnTo>
                    <a:pt x="2067814" y="212356"/>
                  </a:lnTo>
                  <a:lnTo>
                    <a:pt x="2035340" y="190500"/>
                  </a:lnTo>
                  <a:lnTo>
                    <a:pt x="2016048" y="177800"/>
                  </a:lnTo>
                  <a:lnTo>
                    <a:pt x="1996757" y="165100"/>
                  </a:lnTo>
                  <a:lnTo>
                    <a:pt x="1957362" y="152400"/>
                  </a:lnTo>
                  <a:lnTo>
                    <a:pt x="1917166" y="127000"/>
                  </a:lnTo>
                  <a:lnTo>
                    <a:pt x="1876221" y="101600"/>
                  </a:lnTo>
                  <a:lnTo>
                    <a:pt x="1749107" y="63500"/>
                  </a:lnTo>
                  <a:lnTo>
                    <a:pt x="1570710" y="12700"/>
                  </a:lnTo>
                  <a:lnTo>
                    <a:pt x="1524711" y="12700"/>
                  </a:lnTo>
                  <a:lnTo>
                    <a:pt x="1478203" y="0"/>
                  </a:lnTo>
                  <a:lnTo>
                    <a:pt x="1193711" y="0"/>
                  </a:lnTo>
                  <a:lnTo>
                    <a:pt x="1147216" y="12700"/>
                  </a:lnTo>
                  <a:lnTo>
                    <a:pt x="1101204" y="12700"/>
                  </a:lnTo>
                  <a:lnTo>
                    <a:pt x="922807" y="63500"/>
                  </a:lnTo>
                  <a:lnTo>
                    <a:pt x="795693" y="101600"/>
                  </a:lnTo>
                  <a:lnTo>
                    <a:pt x="754748" y="127000"/>
                  </a:lnTo>
                  <a:lnTo>
                    <a:pt x="714552" y="152400"/>
                  </a:lnTo>
                  <a:lnTo>
                    <a:pt x="675157" y="165100"/>
                  </a:lnTo>
                  <a:lnTo>
                    <a:pt x="636562" y="190500"/>
                  </a:lnTo>
                  <a:lnTo>
                    <a:pt x="598830" y="215900"/>
                  </a:lnTo>
                  <a:lnTo>
                    <a:pt x="561962" y="241300"/>
                  </a:lnTo>
                  <a:lnTo>
                    <a:pt x="525995" y="266700"/>
                  </a:lnTo>
                  <a:lnTo>
                    <a:pt x="490969" y="292100"/>
                  </a:lnTo>
                  <a:lnTo>
                    <a:pt x="456895" y="330200"/>
                  </a:lnTo>
                  <a:lnTo>
                    <a:pt x="423811" y="355600"/>
                  </a:lnTo>
                  <a:lnTo>
                    <a:pt x="391731" y="381000"/>
                  </a:lnTo>
                  <a:lnTo>
                    <a:pt x="360705" y="419100"/>
                  </a:lnTo>
                  <a:lnTo>
                    <a:pt x="330758" y="444500"/>
                  </a:lnTo>
                  <a:lnTo>
                    <a:pt x="301904" y="482600"/>
                  </a:lnTo>
                  <a:lnTo>
                    <a:pt x="274180" y="520700"/>
                  </a:lnTo>
                  <a:lnTo>
                    <a:pt x="247611" y="558800"/>
                  </a:lnTo>
                  <a:lnTo>
                    <a:pt x="222237" y="596900"/>
                  </a:lnTo>
                  <a:lnTo>
                    <a:pt x="198081" y="635000"/>
                  </a:lnTo>
                  <a:lnTo>
                    <a:pt x="175158" y="673100"/>
                  </a:lnTo>
                  <a:lnTo>
                    <a:pt x="153517" y="711200"/>
                  </a:lnTo>
                  <a:lnTo>
                    <a:pt x="133172" y="749300"/>
                  </a:lnTo>
                  <a:lnTo>
                    <a:pt x="114147" y="787400"/>
                  </a:lnTo>
                  <a:lnTo>
                    <a:pt x="96494" y="825500"/>
                  </a:lnTo>
                  <a:lnTo>
                    <a:pt x="80225" y="876300"/>
                  </a:lnTo>
                  <a:lnTo>
                    <a:pt x="65366" y="914400"/>
                  </a:lnTo>
                  <a:lnTo>
                    <a:pt x="51955" y="965200"/>
                  </a:lnTo>
                  <a:lnTo>
                    <a:pt x="40005" y="1003300"/>
                  </a:lnTo>
                  <a:lnTo>
                    <a:pt x="29565" y="1054100"/>
                  </a:lnTo>
                  <a:lnTo>
                    <a:pt x="20650" y="1092200"/>
                  </a:lnTo>
                  <a:lnTo>
                    <a:pt x="13296" y="1143000"/>
                  </a:lnTo>
                  <a:lnTo>
                    <a:pt x="7518" y="1181100"/>
                  </a:lnTo>
                  <a:lnTo>
                    <a:pt x="3365" y="1231900"/>
                  </a:lnTo>
                  <a:lnTo>
                    <a:pt x="850" y="1282700"/>
                  </a:lnTo>
                  <a:lnTo>
                    <a:pt x="0" y="1333500"/>
                  </a:lnTo>
                  <a:lnTo>
                    <a:pt x="850" y="1371600"/>
                  </a:lnTo>
                  <a:lnTo>
                    <a:pt x="3365" y="1422400"/>
                  </a:lnTo>
                  <a:lnTo>
                    <a:pt x="7518" y="1473200"/>
                  </a:lnTo>
                  <a:lnTo>
                    <a:pt x="13296" y="1524000"/>
                  </a:lnTo>
                  <a:lnTo>
                    <a:pt x="20650" y="1562100"/>
                  </a:lnTo>
                  <a:lnTo>
                    <a:pt x="29565" y="1612900"/>
                  </a:lnTo>
                  <a:lnTo>
                    <a:pt x="40005" y="1651000"/>
                  </a:lnTo>
                  <a:lnTo>
                    <a:pt x="51955" y="1701800"/>
                  </a:lnTo>
                  <a:lnTo>
                    <a:pt x="65366" y="1739900"/>
                  </a:lnTo>
                  <a:lnTo>
                    <a:pt x="80225" y="1790700"/>
                  </a:lnTo>
                  <a:lnTo>
                    <a:pt x="96494" y="1828800"/>
                  </a:lnTo>
                  <a:lnTo>
                    <a:pt x="114147" y="1866900"/>
                  </a:lnTo>
                  <a:lnTo>
                    <a:pt x="133172" y="1905000"/>
                  </a:lnTo>
                  <a:lnTo>
                    <a:pt x="153517" y="1955800"/>
                  </a:lnTo>
                  <a:lnTo>
                    <a:pt x="175158" y="1993900"/>
                  </a:lnTo>
                  <a:lnTo>
                    <a:pt x="198081" y="2032000"/>
                  </a:lnTo>
                  <a:lnTo>
                    <a:pt x="222237" y="2070100"/>
                  </a:lnTo>
                  <a:lnTo>
                    <a:pt x="247611" y="2108200"/>
                  </a:lnTo>
                  <a:lnTo>
                    <a:pt x="274180" y="2133600"/>
                  </a:lnTo>
                  <a:lnTo>
                    <a:pt x="301904" y="2171700"/>
                  </a:lnTo>
                  <a:lnTo>
                    <a:pt x="330758" y="2209800"/>
                  </a:lnTo>
                  <a:lnTo>
                    <a:pt x="360705" y="2247900"/>
                  </a:lnTo>
                  <a:lnTo>
                    <a:pt x="391731" y="2273300"/>
                  </a:lnTo>
                  <a:lnTo>
                    <a:pt x="423811" y="2298700"/>
                  </a:lnTo>
                  <a:lnTo>
                    <a:pt x="448602" y="2327262"/>
                  </a:lnTo>
                  <a:lnTo>
                    <a:pt x="463664" y="2347760"/>
                  </a:lnTo>
                  <a:lnTo>
                    <a:pt x="477824" y="2358377"/>
                  </a:lnTo>
                  <a:lnTo>
                    <a:pt x="493242" y="2365933"/>
                  </a:lnTo>
                  <a:lnTo>
                    <a:pt x="497903" y="2367242"/>
                  </a:lnTo>
                  <a:lnTo>
                    <a:pt x="525995" y="2387600"/>
                  </a:lnTo>
                  <a:lnTo>
                    <a:pt x="561962" y="2413000"/>
                  </a:lnTo>
                  <a:lnTo>
                    <a:pt x="598830" y="2438400"/>
                  </a:lnTo>
                  <a:lnTo>
                    <a:pt x="636562" y="2463800"/>
                  </a:lnTo>
                  <a:lnTo>
                    <a:pt x="675157" y="2489200"/>
                  </a:lnTo>
                  <a:lnTo>
                    <a:pt x="714552" y="2514600"/>
                  </a:lnTo>
                  <a:lnTo>
                    <a:pt x="754748" y="2527300"/>
                  </a:lnTo>
                  <a:lnTo>
                    <a:pt x="795693" y="2552700"/>
                  </a:lnTo>
                  <a:lnTo>
                    <a:pt x="837374" y="2565400"/>
                  </a:lnTo>
                  <a:lnTo>
                    <a:pt x="879754" y="2590800"/>
                  </a:lnTo>
                  <a:lnTo>
                    <a:pt x="1055738" y="2641600"/>
                  </a:lnTo>
                  <a:lnTo>
                    <a:pt x="1101204" y="2641600"/>
                  </a:lnTo>
                  <a:lnTo>
                    <a:pt x="1147216" y="2654300"/>
                  </a:lnTo>
                  <a:lnTo>
                    <a:pt x="1193711" y="2654300"/>
                  </a:lnTo>
                  <a:lnTo>
                    <a:pt x="1240688" y="2667000"/>
                  </a:lnTo>
                  <a:lnTo>
                    <a:pt x="1431226" y="2667000"/>
                  </a:lnTo>
                  <a:lnTo>
                    <a:pt x="1478203" y="2654300"/>
                  </a:lnTo>
                  <a:lnTo>
                    <a:pt x="1524711" y="2654300"/>
                  </a:lnTo>
                  <a:lnTo>
                    <a:pt x="1570710" y="2641600"/>
                  </a:lnTo>
                  <a:lnTo>
                    <a:pt x="1616176" y="2641600"/>
                  </a:lnTo>
                  <a:lnTo>
                    <a:pt x="1792160" y="2590800"/>
                  </a:lnTo>
                  <a:lnTo>
                    <a:pt x="1834540" y="2565400"/>
                  </a:lnTo>
                  <a:lnTo>
                    <a:pt x="1876221" y="2552700"/>
                  </a:lnTo>
                  <a:lnTo>
                    <a:pt x="1917166" y="2527300"/>
                  </a:lnTo>
                  <a:lnTo>
                    <a:pt x="1957362" y="2514600"/>
                  </a:lnTo>
                  <a:lnTo>
                    <a:pt x="1996757" y="2489200"/>
                  </a:lnTo>
                  <a:lnTo>
                    <a:pt x="2016048" y="2476500"/>
                  </a:lnTo>
                  <a:lnTo>
                    <a:pt x="2035340" y="2463800"/>
                  </a:lnTo>
                  <a:lnTo>
                    <a:pt x="2073084" y="2438400"/>
                  </a:lnTo>
                  <a:lnTo>
                    <a:pt x="2109952" y="2413000"/>
                  </a:lnTo>
                  <a:lnTo>
                    <a:pt x="2145919" y="2387600"/>
                  </a:lnTo>
                  <a:lnTo>
                    <a:pt x="2180945" y="2362200"/>
                  </a:lnTo>
                  <a:lnTo>
                    <a:pt x="2215019" y="2336800"/>
                  </a:lnTo>
                  <a:lnTo>
                    <a:pt x="2248103" y="2298700"/>
                  </a:lnTo>
                  <a:lnTo>
                    <a:pt x="2280183" y="2273300"/>
                  </a:lnTo>
                  <a:lnTo>
                    <a:pt x="2311209" y="2247900"/>
                  </a:lnTo>
                  <a:lnTo>
                    <a:pt x="2341156" y="2209800"/>
                  </a:lnTo>
                  <a:lnTo>
                    <a:pt x="2370010" y="2171700"/>
                  </a:lnTo>
                  <a:lnTo>
                    <a:pt x="2397734" y="2133600"/>
                  </a:lnTo>
                  <a:lnTo>
                    <a:pt x="2424303" y="2108200"/>
                  </a:lnTo>
                  <a:lnTo>
                    <a:pt x="2449677" y="2070100"/>
                  </a:lnTo>
                  <a:lnTo>
                    <a:pt x="2473845" y="2032000"/>
                  </a:lnTo>
                  <a:lnTo>
                    <a:pt x="2496756" y="1993900"/>
                  </a:lnTo>
                  <a:lnTo>
                    <a:pt x="2518410" y="1955800"/>
                  </a:lnTo>
                  <a:lnTo>
                    <a:pt x="2538755" y="1905000"/>
                  </a:lnTo>
                  <a:lnTo>
                    <a:pt x="2557767" y="1866900"/>
                  </a:lnTo>
                  <a:lnTo>
                    <a:pt x="2575433" y="1828800"/>
                  </a:lnTo>
                  <a:lnTo>
                    <a:pt x="2591701" y="1790700"/>
                  </a:lnTo>
                  <a:lnTo>
                    <a:pt x="2606560" y="1739900"/>
                  </a:lnTo>
                  <a:lnTo>
                    <a:pt x="2619972" y="1701800"/>
                  </a:lnTo>
                  <a:lnTo>
                    <a:pt x="2631922" y="1651000"/>
                  </a:lnTo>
                  <a:lnTo>
                    <a:pt x="2642362" y="1612900"/>
                  </a:lnTo>
                  <a:lnTo>
                    <a:pt x="2651277" y="1562100"/>
                  </a:lnTo>
                  <a:lnTo>
                    <a:pt x="2658630" y="1524000"/>
                  </a:lnTo>
                  <a:lnTo>
                    <a:pt x="2664409" y="1473200"/>
                  </a:lnTo>
                  <a:lnTo>
                    <a:pt x="2668562" y="1422400"/>
                  </a:lnTo>
                  <a:lnTo>
                    <a:pt x="2671076" y="1371600"/>
                  </a:lnTo>
                  <a:lnTo>
                    <a:pt x="2671927" y="1333500"/>
                  </a:lnTo>
                  <a:close/>
                </a:path>
              </a:pathLst>
            </a:custGeom>
            <a:solidFill>
              <a:srgbClr val="E4DFCD"/>
            </a:solidFill>
          </p:spPr>
          <p:txBody>
            <a:bodyPr wrap="square" lIns="0" tIns="0" rIns="0" bIns="0" rtlCol="0"/>
            <a:lstStyle/>
            <a:p>
              <a:pPr defTabSz="609630"/>
              <a:endParaRPr sz="1200" kern="0">
                <a:solidFill>
                  <a:sysClr val="windowText" lastClr="000000"/>
                </a:solidFill>
              </a:endParaRPr>
            </a:p>
          </p:txBody>
        </p:sp>
      </p:grpSp>
      <p:sp>
        <p:nvSpPr>
          <p:cNvPr id="16" name="object 16"/>
          <p:cNvSpPr/>
          <p:nvPr/>
        </p:nvSpPr>
        <p:spPr>
          <a:xfrm>
            <a:off x="7034538" y="4928913"/>
            <a:ext cx="1811020" cy="1489287"/>
          </a:xfrm>
          <a:custGeom>
            <a:avLst/>
            <a:gdLst/>
            <a:ahLst/>
            <a:cxnLst/>
            <a:rect l="l" t="t" r="r" b="b"/>
            <a:pathLst>
              <a:path w="2716530" h="2233929">
                <a:moveTo>
                  <a:pt x="786044" y="1167674"/>
                </a:moveTo>
                <a:lnTo>
                  <a:pt x="95024" y="1167674"/>
                </a:lnTo>
                <a:lnTo>
                  <a:pt x="58036" y="1160206"/>
                </a:lnTo>
                <a:lnTo>
                  <a:pt x="27831" y="1139841"/>
                </a:lnTo>
                <a:lnTo>
                  <a:pt x="7467" y="1109636"/>
                </a:lnTo>
                <a:lnTo>
                  <a:pt x="0" y="1072649"/>
                </a:lnTo>
                <a:lnTo>
                  <a:pt x="0" y="145789"/>
                </a:lnTo>
                <a:lnTo>
                  <a:pt x="7469" y="108802"/>
                </a:lnTo>
                <a:lnTo>
                  <a:pt x="27835" y="78601"/>
                </a:lnTo>
                <a:lnTo>
                  <a:pt x="58040" y="58239"/>
                </a:lnTo>
                <a:lnTo>
                  <a:pt x="95024" y="50773"/>
                </a:lnTo>
                <a:lnTo>
                  <a:pt x="786044" y="50773"/>
                </a:lnTo>
                <a:lnTo>
                  <a:pt x="823033" y="58240"/>
                </a:lnTo>
                <a:lnTo>
                  <a:pt x="853238" y="78602"/>
                </a:lnTo>
                <a:lnTo>
                  <a:pt x="873601" y="108804"/>
                </a:lnTo>
                <a:lnTo>
                  <a:pt x="881068" y="145789"/>
                </a:lnTo>
                <a:lnTo>
                  <a:pt x="881068" y="1072649"/>
                </a:lnTo>
                <a:lnTo>
                  <a:pt x="873601" y="1109637"/>
                </a:lnTo>
                <a:lnTo>
                  <a:pt x="853235" y="1139842"/>
                </a:lnTo>
                <a:lnTo>
                  <a:pt x="823031" y="1160206"/>
                </a:lnTo>
                <a:lnTo>
                  <a:pt x="786044" y="1167674"/>
                </a:lnTo>
                <a:close/>
              </a:path>
              <a:path w="2716530" h="2233929">
                <a:moveTo>
                  <a:pt x="1692783" y="2233715"/>
                </a:moveTo>
                <a:lnTo>
                  <a:pt x="1692721" y="2232884"/>
                </a:lnTo>
                <a:lnTo>
                  <a:pt x="1692543" y="2229414"/>
                </a:lnTo>
                <a:lnTo>
                  <a:pt x="1679147" y="2219617"/>
                </a:lnTo>
                <a:lnTo>
                  <a:pt x="1663267" y="2209736"/>
                </a:lnTo>
                <a:lnTo>
                  <a:pt x="1655598" y="2205230"/>
                </a:lnTo>
                <a:lnTo>
                  <a:pt x="1650423" y="2148664"/>
                </a:lnTo>
                <a:lnTo>
                  <a:pt x="1646991" y="2099590"/>
                </a:lnTo>
                <a:lnTo>
                  <a:pt x="1643569" y="2055232"/>
                </a:lnTo>
                <a:lnTo>
                  <a:pt x="1638428" y="2012812"/>
                </a:lnTo>
                <a:lnTo>
                  <a:pt x="1629835" y="1969553"/>
                </a:lnTo>
                <a:lnTo>
                  <a:pt x="1616060" y="1922679"/>
                </a:lnTo>
                <a:lnTo>
                  <a:pt x="1595371" y="1869412"/>
                </a:lnTo>
                <a:lnTo>
                  <a:pt x="1576884" y="1813420"/>
                </a:lnTo>
                <a:lnTo>
                  <a:pt x="1560470" y="1768730"/>
                </a:lnTo>
                <a:lnTo>
                  <a:pt x="1543889" y="1730603"/>
                </a:lnTo>
                <a:lnTo>
                  <a:pt x="1524900" y="1694297"/>
                </a:lnTo>
                <a:lnTo>
                  <a:pt x="1501263" y="1655071"/>
                </a:lnTo>
                <a:lnTo>
                  <a:pt x="1470738" y="1608185"/>
                </a:lnTo>
                <a:lnTo>
                  <a:pt x="1444805" y="1559134"/>
                </a:lnTo>
                <a:lnTo>
                  <a:pt x="1416742" y="1514707"/>
                </a:lnTo>
                <a:lnTo>
                  <a:pt x="1386846" y="1473748"/>
                </a:lnTo>
                <a:lnTo>
                  <a:pt x="1355416" y="1435098"/>
                </a:lnTo>
                <a:lnTo>
                  <a:pt x="1322747" y="1397601"/>
                </a:lnTo>
                <a:lnTo>
                  <a:pt x="1289137" y="1360101"/>
                </a:lnTo>
                <a:lnTo>
                  <a:pt x="1254885" y="1321438"/>
                </a:lnTo>
                <a:lnTo>
                  <a:pt x="1220285" y="1280457"/>
                </a:lnTo>
                <a:lnTo>
                  <a:pt x="1154636" y="1196189"/>
                </a:lnTo>
                <a:lnTo>
                  <a:pt x="1118099" y="1160959"/>
                </a:lnTo>
                <a:lnTo>
                  <a:pt x="1076377" y="1133726"/>
                </a:lnTo>
                <a:lnTo>
                  <a:pt x="1029824" y="1117904"/>
                </a:lnTo>
                <a:lnTo>
                  <a:pt x="978792" y="1116907"/>
                </a:lnTo>
                <a:lnTo>
                  <a:pt x="981889" y="120691"/>
                </a:lnTo>
                <a:lnTo>
                  <a:pt x="1034434" y="110261"/>
                </a:lnTo>
                <a:lnTo>
                  <a:pt x="1297923" y="61633"/>
                </a:lnTo>
                <a:lnTo>
                  <a:pt x="1348676" y="50540"/>
                </a:lnTo>
                <a:lnTo>
                  <a:pt x="1399643" y="41038"/>
                </a:lnTo>
                <a:lnTo>
                  <a:pt x="1450803" y="32981"/>
                </a:lnTo>
                <a:lnTo>
                  <a:pt x="1502131" y="26225"/>
                </a:lnTo>
                <a:lnTo>
                  <a:pt x="1553603" y="20624"/>
                </a:lnTo>
                <a:lnTo>
                  <a:pt x="1605197" y="16033"/>
                </a:lnTo>
                <a:lnTo>
                  <a:pt x="1656887" y="12308"/>
                </a:lnTo>
                <a:lnTo>
                  <a:pt x="1708652" y="9303"/>
                </a:lnTo>
                <a:lnTo>
                  <a:pt x="1760466" y="6873"/>
                </a:lnTo>
                <a:lnTo>
                  <a:pt x="1967754" y="0"/>
                </a:lnTo>
                <a:lnTo>
                  <a:pt x="2103446" y="481"/>
                </a:lnTo>
                <a:lnTo>
                  <a:pt x="2172731" y="2468"/>
                </a:lnTo>
                <a:lnTo>
                  <a:pt x="2223686" y="7098"/>
                </a:lnTo>
                <a:lnTo>
                  <a:pt x="2273779" y="15606"/>
                </a:lnTo>
                <a:lnTo>
                  <a:pt x="2322636" y="29127"/>
                </a:lnTo>
                <a:lnTo>
                  <a:pt x="2369886" y="48798"/>
                </a:lnTo>
                <a:lnTo>
                  <a:pt x="2406554" y="75213"/>
                </a:lnTo>
                <a:lnTo>
                  <a:pt x="2443916" y="104460"/>
                </a:lnTo>
                <a:lnTo>
                  <a:pt x="2478228" y="137136"/>
                </a:lnTo>
                <a:lnTo>
                  <a:pt x="2505747" y="173840"/>
                </a:lnTo>
                <a:lnTo>
                  <a:pt x="2522730" y="215171"/>
                </a:lnTo>
                <a:lnTo>
                  <a:pt x="2525435" y="261725"/>
                </a:lnTo>
                <a:lnTo>
                  <a:pt x="2522338" y="307179"/>
                </a:lnTo>
                <a:lnTo>
                  <a:pt x="2534761" y="346476"/>
                </a:lnTo>
                <a:lnTo>
                  <a:pt x="2558007" y="381430"/>
                </a:lnTo>
                <a:lnTo>
                  <a:pt x="2587383" y="413852"/>
                </a:lnTo>
                <a:lnTo>
                  <a:pt x="2618191" y="445556"/>
                </a:lnTo>
                <a:lnTo>
                  <a:pt x="2645739" y="478352"/>
                </a:lnTo>
                <a:lnTo>
                  <a:pt x="2661749" y="512162"/>
                </a:lnTo>
                <a:lnTo>
                  <a:pt x="2662772" y="546154"/>
                </a:lnTo>
                <a:lnTo>
                  <a:pt x="2653771" y="580233"/>
                </a:lnTo>
                <a:lnTo>
                  <a:pt x="2639711" y="614303"/>
                </a:lnTo>
                <a:lnTo>
                  <a:pt x="2625558" y="648268"/>
                </a:lnTo>
                <a:lnTo>
                  <a:pt x="2616275" y="682033"/>
                </a:lnTo>
                <a:lnTo>
                  <a:pt x="2616829" y="715500"/>
                </a:lnTo>
                <a:lnTo>
                  <a:pt x="2632183" y="748576"/>
                </a:lnTo>
                <a:lnTo>
                  <a:pt x="2664639" y="780672"/>
                </a:lnTo>
                <a:lnTo>
                  <a:pt x="2689757" y="816680"/>
                </a:lnTo>
                <a:lnTo>
                  <a:pt x="2705103" y="855273"/>
                </a:lnTo>
                <a:lnTo>
                  <a:pt x="2708244" y="895125"/>
                </a:lnTo>
                <a:lnTo>
                  <a:pt x="2696746" y="934910"/>
                </a:lnTo>
                <a:lnTo>
                  <a:pt x="2668178" y="973302"/>
                </a:lnTo>
                <a:lnTo>
                  <a:pt x="2643085" y="1009098"/>
                </a:lnTo>
                <a:lnTo>
                  <a:pt x="2638584" y="1043421"/>
                </a:lnTo>
                <a:lnTo>
                  <a:pt x="2648711" y="1076827"/>
                </a:lnTo>
                <a:lnTo>
                  <a:pt x="2667502" y="1109869"/>
                </a:lnTo>
                <a:lnTo>
                  <a:pt x="2688994" y="1143101"/>
                </a:lnTo>
                <a:lnTo>
                  <a:pt x="2707223" y="1177078"/>
                </a:lnTo>
                <a:lnTo>
                  <a:pt x="2701864" y="1258237"/>
                </a:lnTo>
                <a:lnTo>
                  <a:pt x="2681847" y="1303028"/>
                </a:lnTo>
                <a:lnTo>
                  <a:pt x="2656294" y="1345164"/>
                </a:lnTo>
                <a:lnTo>
                  <a:pt x="2625327" y="1383089"/>
                </a:lnTo>
                <a:lnTo>
                  <a:pt x="2589066" y="1415243"/>
                </a:lnTo>
                <a:lnTo>
                  <a:pt x="2547631" y="1440067"/>
                </a:lnTo>
                <a:lnTo>
                  <a:pt x="2498258" y="1450211"/>
                </a:lnTo>
                <a:lnTo>
                  <a:pt x="2448415" y="1457149"/>
                </a:lnTo>
                <a:lnTo>
                  <a:pt x="2398214" y="1461501"/>
                </a:lnTo>
                <a:lnTo>
                  <a:pt x="2370396" y="1462815"/>
                </a:lnTo>
                <a:lnTo>
                  <a:pt x="1992403" y="1462815"/>
                </a:lnTo>
                <a:lnTo>
                  <a:pt x="1942491" y="1463613"/>
                </a:lnTo>
                <a:lnTo>
                  <a:pt x="1895565" y="1471367"/>
                </a:lnTo>
                <a:lnTo>
                  <a:pt x="1882155" y="1528751"/>
                </a:lnTo>
                <a:lnTo>
                  <a:pt x="1876618" y="1563503"/>
                </a:lnTo>
                <a:lnTo>
                  <a:pt x="1882570" y="1595950"/>
                </a:lnTo>
                <a:lnTo>
                  <a:pt x="1903625" y="1646424"/>
                </a:lnTo>
                <a:lnTo>
                  <a:pt x="1932812" y="1697871"/>
                </a:lnTo>
                <a:lnTo>
                  <a:pt x="1956235" y="1743821"/>
                </a:lnTo>
                <a:lnTo>
                  <a:pt x="1973657" y="1786985"/>
                </a:lnTo>
                <a:lnTo>
                  <a:pt x="1984841" y="1830076"/>
                </a:lnTo>
                <a:lnTo>
                  <a:pt x="1989547" y="1875805"/>
                </a:lnTo>
                <a:lnTo>
                  <a:pt x="1987538" y="1926883"/>
                </a:lnTo>
                <a:lnTo>
                  <a:pt x="1978576" y="1986021"/>
                </a:lnTo>
                <a:lnTo>
                  <a:pt x="1969222" y="2031534"/>
                </a:lnTo>
                <a:lnTo>
                  <a:pt x="1952472" y="2074724"/>
                </a:lnTo>
                <a:lnTo>
                  <a:pt x="1929096" y="2114659"/>
                </a:lnTo>
                <a:lnTo>
                  <a:pt x="1899863" y="2150406"/>
                </a:lnTo>
                <a:lnTo>
                  <a:pt x="1865543" y="2181035"/>
                </a:lnTo>
                <a:lnTo>
                  <a:pt x="1826906" y="2205612"/>
                </a:lnTo>
                <a:lnTo>
                  <a:pt x="1784720" y="2223205"/>
                </a:lnTo>
                <a:lnTo>
                  <a:pt x="1739756" y="2232884"/>
                </a:lnTo>
                <a:lnTo>
                  <a:pt x="1692783" y="2233715"/>
                </a:lnTo>
                <a:close/>
              </a:path>
              <a:path w="2716530" h="2233929">
                <a:moveTo>
                  <a:pt x="2103446" y="481"/>
                </a:moveTo>
                <a:lnTo>
                  <a:pt x="2018426" y="481"/>
                </a:lnTo>
                <a:lnTo>
                  <a:pt x="2069728" y="296"/>
                </a:lnTo>
                <a:lnTo>
                  <a:pt x="2103446" y="481"/>
                </a:lnTo>
                <a:close/>
              </a:path>
              <a:path w="2716530" h="2233929">
                <a:moveTo>
                  <a:pt x="2095446" y="1467679"/>
                </a:moveTo>
                <a:lnTo>
                  <a:pt x="1992403" y="1462815"/>
                </a:lnTo>
                <a:lnTo>
                  <a:pt x="2370396" y="1462815"/>
                </a:lnTo>
                <a:lnTo>
                  <a:pt x="2347764" y="1463885"/>
                </a:lnTo>
                <a:lnTo>
                  <a:pt x="2297178" y="1464921"/>
                </a:lnTo>
                <a:lnTo>
                  <a:pt x="2145704" y="1466134"/>
                </a:lnTo>
                <a:lnTo>
                  <a:pt x="2095446" y="1467679"/>
                </a:lnTo>
                <a:close/>
              </a:path>
            </a:pathLst>
          </a:custGeom>
          <a:solidFill>
            <a:srgbClr val="E4DFCD"/>
          </a:solidFill>
        </p:spPr>
        <p:txBody>
          <a:bodyPr wrap="square" lIns="0" tIns="0" rIns="0" bIns="0" rtlCol="0"/>
          <a:lstStyle/>
          <a:p>
            <a:pPr defTabSz="609630"/>
            <a:endParaRPr sz="1200" kern="0">
              <a:solidFill>
                <a:sysClr val="windowText" lastClr="000000"/>
              </a:solidFill>
            </a:endParaRPr>
          </a:p>
        </p:txBody>
      </p:sp>
      <p:sp>
        <p:nvSpPr>
          <p:cNvPr id="17" name="object 17"/>
          <p:cNvSpPr/>
          <p:nvPr/>
        </p:nvSpPr>
        <p:spPr>
          <a:xfrm>
            <a:off x="9260318" y="4644748"/>
            <a:ext cx="2057400" cy="2057400"/>
          </a:xfrm>
          <a:custGeom>
            <a:avLst/>
            <a:gdLst/>
            <a:ahLst/>
            <a:cxnLst/>
            <a:rect l="l" t="t" r="r" b="b"/>
            <a:pathLst>
              <a:path w="3086100" h="3086100">
                <a:moveTo>
                  <a:pt x="2600324" y="3086099"/>
                </a:moveTo>
                <a:lnTo>
                  <a:pt x="485774" y="3086099"/>
                </a:lnTo>
                <a:lnTo>
                  <a:pt x="437761" y="3083722"/>
                </a:lnTo>
                <a:lnTo>
                  <a:pt x="390562" y="3076679"/>
                </a:lnTo>
                <a:lnTo>
                  <a:pt x="344494" y="3065102"/>
                </a:lnTo>
                <a:lnTo>
                  <a:pt x="299876" y="3049122"/>
                </a:lnTo>
                <a:lnTo>
                  <a:pt x="257027" y="3028872"/>
                </a:lnTo>
                <a:lnTo>
                  <a:pt x="216266" y="3004484"/>
                </a:lnTo>
                <a:lnTo>
                  <a:pt x="177910" y="2976089"/>
                </a:lnTo>
                <a:lnTo>
                  <a:pt x="142279" y="2943819"/>
                </a:lnTo>
                <a:lnTo>
                  <a:pt x="110010" y="2908188"/>
                </a:lnTo>
                <a:lnTo>
                  <a:pt x="81615" y="2869833"/>
                </a:lnTo>
                <a:lnTo>
                  <a:pt x="57227" y="2829071"/>
                </a:lnTo>
                <a:lnTo>
                  <a:pt x="36977" y="2786223"/>
                </a:lnTo>
                <a:lnTo>
                  <a:pt x="20997" y="2741605"/>
                </a:lnTo>
                <a:lnTo>
                  <a:pt x="9420" y="2695537"/>
                </a:lnTo>
                <a:lnTo>
                  <a:pt x="2377" y="2648337"/>
                </a:lnTo>
                <a:lnTo>
                  <a:pt x="0" y="2600324"/>
                </a:lnTo>
                <a:lnTo>
                  <a:pt x="0" y="485774"/>
                </a:lnTo>
                <a:lnTo>
                  <a:pt x="2377" y="437762"/>
                </a:lnTo>
                <a:lnTo>
                  <a:pt x="9420" y="390562"/>
                </a:lnTo>
                <a:lnTo>
                  <a:pt x="20997" y="344494"/>
                </a:lnTo>
                <a:lnTo>
                  <a:pt x="36977" y="299876"/>
                </a:lnTo>
                <a:lnTo>
                  <a:pt x="57227" y="257028"/>
                </a:lnTo>
                <a:lnTo>
                  <a:pt x="81615" y="216266"/>
                </a:lnTo>
                <a:lnTo>
                  <a:pt x="110010" y="177911"/>
                </a:lnTo>
                <a:lnTo>
                  <a:pt x="142279" y="142280"/>
                </a:lnTo>
                <a:lnTo>
                  <a:pt x="177910" y="110010"/>
                </a:lnTo>
                <a:lnTo>
                  <a:pt x="216266" y="81616"/>
                </a:lnTo>
                <a:lnTo>
                  <a:pt x="257027" y="57227"/>
                </a:lnTo>
                <a:lnTo>
                  <a:pt x="299876" y="36977"/>
                </a:lnTo>
                <a:lnTo>
                  <a:pt x="344494" y="20997"/>
                </a:lnTo>
                <a:lnTo>
                  <a:pt x="390562" y="9420"/>
                </a:lnTo>
                <a:lnTo>
                  <a:pt x="437761" y="2377"/>
                </a:lnTo>
                <a:lnTo>
                  <a:pt x="485774" y="0"/>
                </a:lnTo>
                <a:lnTo>
                  <a:pt x="2600324" y="0"/>
                </a:lnTo>
                <a:lnTo>
                  <a:pt x="2648338" y="2377"/>
                </a:lnTo>
                <a:lnTo>
                  <a:pt x="2695537" y="9420"/>
                </a:lnTo>
                <a:lnTo>
                  <a:pt x="2741605" y="20997"/>
                </a:lnTo>
                <a:lnTo>
                  <a:pt x="2786223" y="36977"/>
                </a:lnTo>
                <a:lnTo>
                  <a:pt x="2829072" y="57227"/>
                </a:lnTo>
                <a:lnTo>
                  <a:pt x="2869833" y="81616"/>
                </a:lnTo>
                <a:lnTo>
                  <a:pt x="2908189" y="110010"/>
                </a:lnTo>
                <a:lnTo>
                  <a:pt x="2943820" y="142280"/>
                </a:lnTo>
                <a:lnTo>
                  <a:pt x="2976089" y="177911"/>
                </a:lnTo>
                <a:lnTo>
                  <a:pt x="3004484" y="216266"/>
                </a:lnTo>
                <a:lnTo>
                  <a:pt x="3028872" y="257028"/>
                </a:lnTo>
                <a:lnTo>
                  <a:pt x="3049122" y="299876"/>
                </a:lnTo>
                <a:lnTo>
                  <a:pt x="3065102" y="344494"/>
                </a:lnTo>
                <a:lnTo>
                  <a:pt x="3076679" y="390562"/>
                </a:lnTo>
                <a:lnTo>
                  <a:pt x="3083722" y="437762"/>
                </a:lnTo>
                <a:lnTo>
                  <a:pt x="3086099" y="485774"/>
                </a:lnTo>
                <a:lnTo>
                  <a:pt x="3086099" y="2600324"/>
                </a:lnTo>
                <a:lnTo>
                  <a:pt x="3083722" y="2648337"/>
                </a:lnTo>
                <a:lnTo>
                  <a:pt x="3076679" y="2695537"/>
                </a:lnTo>
                <a:lnTo>
                  <a:pt x="3065102" y="2741605"/>
                </a:lnTo>
                <a:lnTo>
                  <a:pt x="3049122" y="2786223"/>
                </a:lnTo>
                <a:lnTo>
                  <a:pt x="3028872" y="2829071"/>
                </a:lnTo>
                <a:lnTo>
                  <a:pt x="3004484" y="2869833"/>
                </a:lnTo>
                <a:lnTo>
                  <a:pt x="2976089" y="2908188"/>
                </a:lnTo>
                <a:lnTo>
                  <a:pt x="2943820" y="2943819"/>
                </a:lnTo>
                <a:lnTo>
                  <a:pt x="2908189" y="2976089"/>
                </a:lnTo>
                <a:lnTo>
                  <a:pt x="2869833" y="3004484"/>
                </a:lnTo>
                <a:lnTo>
                  <a:pt x="2829072" y="3028872"/>
                </a:lnTo>
                <a:lnTo>
                  <a:pt x="2786223" y="3049122"/>
                </a:lnTo>
                <a:lnTo>
                  <a:pt x="2741605" y="3065102"/>
                </a:lnTo>
                <a:lnTo>
                  <a:pt x="2695537" y="3076679"/>
                </a:lnTo>
                <a:lnTo>
                  <a:pt x="2648338" y="3083722"/>
                </a:lnTo>
                <a:lnTo>
                  <a:pt x="2600324" y="3086099"/>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pic>
        <p:nvPicPr>
          <p:cNvPr id="18" name="object 18"/>
          <p:cNvPicPr/>
          <p:nvPr/>
        </p:nvPicPr>
        <p:blipFill>
          <a:blip r:embed="rId2" cstate="print"/>
          <a:stretch>
            <a:fillRect/>
          </a:stretch>
        </p:blipFill>
        <p:spPr>
          <a:xfrm>
            <a:off x="9378903" y="403320"/>
            <a:ext cx="1820179" cy="1609921"/>
          </a:xfrm>
          <a:prstGeom prst="rect">
            <a:avLst/>
          </a:prstGeom>
        </p:spPr>
      </p:pic>
      <p:pic>
        <p:nvPicPr>
          <p:cNvPr id="19" name="object 19"/>
          <p:cNvPicPr/>
          <p:nvPr/>
        </p:nvPicPr>
        <p:blipFill>
          <a:blip r:embed="rId3" cstate="print"/>
          <a:stretch>
            <a:fillRect/>
          </a:stretch>
        </p:blipFill>
        <p:spPr>
          <a:xfrm>
            <a:off x="9342543" y="2482525"/>
            <a:ext cx="1892895" cy="1888067"/>
          </a:xfrm>
          <a:prstGeom prst="rect">
            <a:avLst/>
          </a:prstGeom>
        </p:spPr>
      </p:pic>
      <p:sp>
        <p:nvSpPr>
          <p:cNvPr id="20" name="object 20"/>
          <p:cNvSpPr/>
          <p:nvPr/>
        </p:nvSpPr>
        <p:spPr>
          <a:xfrm>
            <a:off x="9323277" y="4976994"/>
            <a:ext cx="1931670" cy="1447800"/>
          </a:xfrm>
          <a:custGeom>
            <a:avLst/>
            <a:gdLst/>
            <a:ahLst/>
            <a:cxnLst/>
            <a:rect l="l" t="t" r="r" b="b"/>
            <a:pathLst>
              <a:path w="2897505" h="2171700">
                <a:moveTo>
                  <a:pt x="1307129" y="2019300"/>
                </a:moveTo>
                <a:lnTo>
                  <a:pt x="763020" y="2019300"/>
                </a:lnTo>
                <a:lnTo>
                  <a:pt x="763020" y="127000"/>
                </a:lnTo>
                <a:lnTo>
                  <a:pt x="773383" y="76200"/>
                </a:lnTo>
                <a:lnTo>
                  <a:pt x="801588" y="38100"/>
                </a:lnTo>
                <a:lnTo>
                  <a:pt x="843304" y="0"/>
                </a:lnTo>
                <a:lnTo>
                  <a:pt x="2053783" y="0"/>
                </a:lnTo>
                <a:lnTo>
                  <a:pt x="2095499" y="38100"/>
                </a:lnTo>
                <a:lnTo>
                  <a:pt x="2123704" y="76200"/>
                </a:lnTo>
                <a:lnTo>
                  <a:pt x="2134067" y="127000"/>
                </a:lnTo>
                <a:lnTo>
                  <a:pt x="2134067" y="152400"/>
                </a:lnTo>
                <a:lnTo>
                  <a:pt x="1368693" y="152400"/>
                </a:lnTo>
                <a:lnTo>
                  <a:pt x="1354247" y="165100"/>
                </a:lnTo>
                <a:lnTo>
                  <a:pt x="1342415" y="165100"/>
                </a:lnTo>
                <a:lnTo>
                  <a:pt x="1334420" y="177800"/>
                </a:lnTo>
                <a:lnTo>
                  <a:pt x="1331483" y="190500"/>
                </a:lnTo>
                <a:lnTo>
                  <a:pt x="1331483" y="304800"/>
                </a:lnTo>
                <a:lnTo>
                  <a:pt x="1328559" y="330200"/>
                </a:lnTo>
                <a:lnTo>
                  <a:pt x="1320585" y="342900"/>
                </a:lnTo>
                <a:lnTo>
                  <a:pt x="1174407" y="342900"/>
                </a:lnTo>
                <a:lnTo>
                  <a:pt x="1159922" y="355600"/>
                </a:lnTo>
                <a:lnTo>
                  <a:pt x="1148095" y="355600"/>
                </a:lnTo>
                <a:lnTo>
                  <a:pt x="1140121" y="368300"/>
                </a:lnTo>
                <a:lnTo>
                  <a:pt x="1137197" y="381000"/>
                </a:lnTo>
                <a:lnTo>
                  <a:pt x="1137197" y="533400"/>
                </a:lnTo>
                <a:lnTo>
                  <a:pt x="1140121" y="546100"/>
                </a:lnTo>
                <a:lnTo>
                  <a:pt x="1148095" y="558800"/>
                </a:lnTo>
                <a:lnTo>
                  <a:pt x="1159922" y="571500"/>
                </a:lnTo>
                <a:lnTo>
                  <a:pt x="1308758" y="571500"/>
                </a:lnTo>
                <a:lnTo>
                  <a:pt x="1320585" y="584200"/>
                </a:lnTo>
                <a:lnTo>
                  <a:pt x="1328559" y="596900"/>
                </a:lnTo>
                <a:lnTo>
                  <a:pt x="1331483" y="609600"/>
                </a:lnTo>
                <a:lnTo>
                  <a:pt x="1331483" y="723900"/>
                </a:lnTo>
                <a:lnTo>
                  <a:pt x="1334420" y="736600"/>
                </a:lnTo>
                <a:lnTo>
                  <a:pt x="1342415" y="749300"/>
                </a:lnTo>
                <a:lnTo>
                  <a:pt x="1354247" y="762000"/>
                </a:lnTo>
                <a:lnTo>
                  <a:pt x="2134067" y="762000"/>
                </a:lnTo>
                <a:lnTo>
                  <a:pt x="2134067" y="977900"/>
                </a:lnTo>
                <a:lnTo>
                  <a:pt x="960950" y="977900"/>
                </a:lnTo>
                <a:lnTo>
                  <a:pt x="956497" y="990600"/>
                </a:lnTo>
                <a:lnTo>
                  <a:pt x="954862" y="990600"/>
                </a:lnTo>
                <a:lnTo>
                  <a:pt x="954862" y="1270000"/>
                </a:lnTo>
                <a:lnTo>
                  <a:pt x="956497" y="1282700"/>
                </a:lnTo>
                <a:lnTo>
                  <a:pt x="960950" y="1282700"/>
                </a:lnTo>
                <a:lnTo>
                  <a:pt x="967542" y="1295400"/>
                </a:lnTo>
                <a:lnTo>
                  <a:pt x="2134067" y="1295400"/>
                </a:lnTo>
                <a:lnTo>
                  <a:pt x="2134067" y="1498600"/>
                </a:lnTo>
                <a:lnTo>
                  <a:pt x="975594" y="1498600"/>
                </a:lnTo>
                <a:lnTo>
                  <a:pt x="967542" y="1511300"/>
                </a:lnTo>
                <a:lnTo>
                  <a:pt x="956497" y="1511300"/>
                </a:lnTo>
                <a:lnTo>
                  <a:pt x="954862" y="1524000"/>
                </a:lnTo>
                <a:lnTo>
                  <a:pt x="954862" y="1803400"/>
                </a:lnTo>
                <a:lnTo>
                  <a:pt x="956497" y="1816100"/>
                </a:lnTo>
                <a:lnTo>
                  <a:pt x="960950" y="1816100"/>
                </a:lnTo>
                <a:lnTo>
                  <a:pt x="967542" y="1828800"/>
                </a:lnTo>
                <a:lnTo>
                  <a:pt x="1307129" y="1828800"/>
                </a:lnTo>
                <a:lnTo>
                  <a:pt x="1307129" y="2019300"/>
                </a:lnTo>
                <a:close/>
              </a:path>
              <a:path w="2897505" h="2171700">
                <a:moveTo>
                  <a:pt x="2134067" y="762000"/>
                </a:moveTo>
                <a:lnTo>
                  <a:pt x="1542841" y="762000"/>
                </a:lnTo>
                <a:lnTo>
                  <a:pt x="1554672" y="749300"/>
                </a:lnTo>
                <a:lnTo>
                  <a:pt x="1562667" y="736600"/>
                </a:lnTo>
                <a:lnTo>
                  <a:pt x="1565604" y="723900"/>
                </a:lnTo>
                <a:lnTo>
                  <a:pt x="1565604" y="609600"/>
                </a:lnTo>
                <a:lnTo>
                  <a:pt x="1568528" y="596900"/>
                </a:lnTo>
                <a:lnTo>
                  <a:pt x="1576502" y="584200"/>
                </a:lnTo>
                <a:lnTo>
                  <a:pt x="1588330" y="571500"/>
                </a:lnTo>
                <a:lnTo>
                  <a:pt x="1737164" y="571500"/>
                </a:lnTo>
                <a:lnTo>
                  <a:pt x="1748992" y="558800"/>
                </a:lnTo>
                <a:lnTo>
                  <a:pt x="1756966" y="546100"/>
                </a:lnTo>
                <a:lnTo>
                  <a:pt x="1759890" y="533400"/>
                </a:lnTo>
                <a:lnTo>
                  <a:pt x="1759890" y="381000"/>
                </a:lnTo>
                <a:lnTo>
                  <a:pt x="1756966" y="368300"/>
                </a:lnTo>
                <a:lnTo>
                  <a:pt x="1748992" y="355600"/>
                </a:lnTo>
                <a:lnTo>
                  <a:pt x="1737164" y="355600"/>
                </a:lnTo>
                <a:lnTo>
                  <a:pt x="1722680" y="342900"/>
                </a:lnTo>
                <a:lnTo>
                  <a:pt x="1576502" y="342900"/>
                </a:lnTo>
                <a:lnTo>
                  <a:pt x="1568528" y="330200"/>
                </a:lnTo>
                <a:lnTo>
                  <a:pt x="1565604" y="304800"/>
                </a:lnTo>
                <a:lnTo>
                  <a:pt x="1565604" y="190500"/>
                </a:lnTo>
                <a:lnTo>
                  <a:pt x="1562667" y="177800"/>
                </a:lnTo>
                <a:lnTo>
                  <a:pt x="1554672" y="165100"/>
                </a:lnTo>
                <a:lnTo>
                  <a:pt x="1542840" y="165100"/>
                </a:lnTo>
                <a:lnTo>
                  <a:pt x="1528395" y="152400"/>
                </a:lnTo>
                <a:lnTo>
                  <a:pt x="2134067" y="152400"/>
                </a:lnTo>
                <a:lnTo>
                  <a:pt x="2134067" y="762000"/>
                </a:lnTo>
                <a:close/>
              </a:path>
              <a:path w="2897505" h="2171700">
                <a:moveTo>
                  <a:pt x="705531" y="2019300"/>
                </a:moveTo>
                <a:lnTo>
                  <a:pt x="144944" y="2019300"/>
                </a:lnTo>
                <a:lnTo>
                  <a:pt x="144944" y="749300"/>
                </a:lnTo>
                <a:lnTo>
                  <a:pt x="155296" y="698500"/>
                </a:lnTo>
                <a:lnTo>
                  <a:pt x="183489" y="660400"/>
                </a:lnTo>
                <a:lnTo>
                  <a:pt x="225228" y="635000"/>
                </a:lnTo>
                <a:lnTo>
                  <a:pt x="276219" y="622300"/>
                </a:lnTo>
                <a:lnTo>
                  <a:pt x="705531" y="622300"/>
                </a:lnTo>
                <a:lnTo>
                  <a:pt x="705531" y="977900"/>
                </a:lnTo>
                <a:lnTo>
                  <a:pt x="323953" y="977900"/>
                </a:lnTo>
                <a:lnTo>
                  <a:pt x="319500" y="990600"/>
                </a:lnTo>
                <a:lnTo>
                  <a:pt x="317864" y="990600"/>
                </a:lnTo>
                <a:lnTo>
                  <a:pt x="317864" y="1270000"/>
                </a:lnTo>
                <a:lnTo>
                  <a:pt x="319500" y="1282700"/>
                </a:lnTo>
                <a:lnTo>
                  <a:pt x="323953" y="1282700"/>
                </a:lnTo>
                <a:lnTo>
                  <a:pt x="330545" y="1295400"/>
                </a:lnTo>
                <a:lnTo>
                  <a:pt x="705531" y="1295400"/>
                </a:lnTo>
                <a:lnTo>
                  <a:pt x="705531" y="1498600"/>
                </a:lnTo>
                <a:lnTo>
                  <a:pt x="338597" y="1498600"/>
                </a:lnTo>
                <a:lnTo>
                  <a:pt x="330545" y="1511300"/>
                </a:lnTo>
                <a:lnTo>
                  <a:pt x="319500" y="1511300"/>
                </a:lnTo>
                <a:lnTo>
                  <a:pt x="317864" y="1524000"/>
                </a:lnTo>
                <a:lnTo>
                  <a:pt x="317864" y="1803400"/>
                </a:lnTo>
                <a:lnTo>
                  <a:pt x="319500" y="1816100"/>
                </a:lnTo>
                <a:lnTo>
                  <a:pt x="323953" y="1816100"/>
                </a:lnTo>
                <a:lnTo>
                  <a:pt x="330545" y="1828800"/>
                </a:lnTo>
                <a:lnTo>
                  <a:pt x="705531" y="1828800"/>
                </a:lnTo>
                <a:lnTo>
                  <a:pt x="705531" y="2019300"/>
                </a:lnTo>
                <a:close/>
              </a:path>
              <a:path w="2897505" h="2171700">
                <a:moveTo>
                  <a:pt x="2752143" y="2019300"/>
                </a:moveTo>
                <a:lnTo>
                  <a:pt x="2191556" y="2019300"/>
                </a:lnTo>
                <a:lnTo>
                  <a:pt x="2191556" y="622300"/>
                </a:lnTo>
                <a:lnTo>
                  <a:pt x="2620868" y="622300"/>
                </a:lnTo>
                <a:lnTo>
                  <a:pt x="2671859" y="635000"/>
                </a:lnTo>
                <a:lnTo>
                  <a:pt x="2713598" y="660400"/>
                </a:lnTo>
                <a:lnTo>
                  <a:pt x="2741791" y="698500"/>
                </a:lnTo>
                <a:lnTo>
                  <a:pt x="2752143" y="749300"/>
                </a:lnTo>
                <a:lnTo>
                  <a:pt x="2752143" y="977900"/>
                </a:lnTo>
                <a:lnTo>
                  <a:pt x="2370655" y="977900"/>
                </a:lnTo>
                <a:lnTo>
                  <a:pt x="2366202" y="990600"/>
                </a:lnTo>
                <a:lnTo>
                  <a:pt x="2364567" y="990600"/>
                </a:lnTo>
                <a:lnTo>
                  <a:pt x="2364567" y="1270000"/>
                </a:lnTo>
                <a:lnTo>
                  <a:pt x="2366202" y="1282700"/>
                </a:lnTo>
                <a:lnTo>
                  <a:pt x="2370655" y="1282700"/>
                </a:lnTo>
                <a:lnTo>
                  <a:pt x="2377247" y="1295400"/>
                </a:lnTo>
                <a:lnTo>
                  <a:pt x="2752143" y="1295400"/>
                </a:lnTo>
                <a:lnTo>
                  <a:pt x="2752143" y="1498600"/>
                </a:lnTo>
                <a:lnTo>
                  <a:pt x="2385299" y="1498600"/>
                </a:lnTo>
                <a:lnTo>
                  <a:pt x="2377247" y="1511300"/>
                </a:lnTo>
                <a:lnTo>
                  <a:pt x="2366202" y="1511300"/>
                </a:lnTo>
                <a:lnTo>
                  <a:pt x="2364567" y="1524000"/>
                </a:lnTo>
                <a:lnTo>
                  <a:pt x="2364567" y="1803400"/>
                </a:lnTo>
                <a:lnTo>
                  <a:pt x="2366202" y="1816100"/>
                </a:lnTo>
                <a:lnTo>
                  <a:pt x="2370655" y="1816100"/>
                </a:lnTo>
                <a:lnTo>
                  <a:pt x="2377247" y="1828800"/>
                </a:lnTo>
                <a:lnTo>
                  <a:pt x="2752143" y="1828800"/>
                </a:lnTo>
                <a:lnTo>
                  <a:pt x="2752143" y="2019300"/>
                </a:lnTo>
                <a:close/>
              </a:path>
              <a:path w="2897505" h="2171700">
                <a:moveTo>
                  <a:pt x="705531" y="1295400"/>
                </a:moveTo>
                <a:lnTo>
                  <a:pt x="519840" y="1295400"/>
                </a:lnTo>
                <a:lnTo>
                  <a:pt x="526432" y="1282700"/>
                </a:lnTo>
                <a:lnTo>
                  <a:pt x="530885" y="1282700"/>
                </a:lnTo>
                <a:lnTo>
                  <a:pt x="532521" y="1270000"/>
                </a:lnTo>
                <a:lnTo>
                  <a:pt x="532521" y="990600"/>
                </a:lnTo>
                <a:lnTo>
                  <a:pt x="530885" y="990600"/>
                </a:lnTo>
                <a:lnTo>
                  <a:pt x="526432" y="977900"/>
                </a:lnTo>
                <a:lnTo>
                  <a:pt x="705531" y="977900"/>
                </a:lnTo>
                <a:lnTo>
                  <a:pt x="705531" y="1295400"/>
                </a:lnTo>
                <a:close/>
              </a:path>
              <a:path w="2897505" h="2171700">
                <a:moveTo>
                  <a:pt x="1342805" y="990600"/>
                </a:moveTo>
                <a:lnTo>
                  <a:pt x="1167883" y="990600"/>
                </a:lnTo>
                <a:lnTo>
                  <a:pt x="1163429" y="977900"/>
                </a:lnTo>
                <a:lnTo>
                  <a:pt x="1347259" y="977900"/>
                </a:lnTo>
                <a:lnTo>
                  <a:pt x="1342805" y="990600"/>
                </a:lnTo>
                <a:close/>
              </a:path>
              <a:path w="2897505" h="2171700">
                <a:moveTo>
                  <a:pt x="1729205" y="990600"/>
                </a:moveTo>
                <a:lnTo>
                  <a:pt x="1554282" y="990600"/>
                </a:lnTo>
                <a:lnTo>
                  <a:pt x="1549829" y="977900"/>
                </a:lnTo>
                <a:lnTo>
                  <a:pt x="1733658" y="977900"/>
                </a:lnTo>
                <a:lnTo>
                  <a:pt x="1729205" y="990600"/>
                </a:lnTo>
                <a:close/>
              </a:path>
              <a:path w="2897505" h="2171700">
                <a:moveTo>
                  <a:pt x="2134067" y="1295400"/>
                </a:moveTo>
                <a:lnTo>
                  <a:pt x="1929545" y="1295400"/>
                </a:lnTo>
                <a:lnTo>
                  <a:pt x="1936137" y="1282700"/>
                </a:lnTo>
                <a:lnTo>
                  <a:pt x="1940590" y="1282700"/>
                </a:lnTo>
                <a:lnTo>
                  <a:pt x="1942225" y="1270000"/>
                </a:lnTo>
                <a:lnTo>
                  <a:pt x="1942225" y="990600"/>
                </a:lnTo>
                <a:lnTo>
                  <a:pt x="1940590" y="990600"/>
                </a:lnTo>
                <a:lnTo>
                  <a:pt x="1936137" y="977900"/>
                </a:lnTo>
                <a:lnTo>
                  <a:pt x="2134067" y="977900"/>
                </a:lnTo>
                <a:lnTo>
                  <a:pt x="2134067" y="1295400"/>
                </a:lnTo>
                <a:close/>
              </a:path>
              <a:path w="2897505" h="2171700">
                <a:moveTo>
                  <a:pt x="2752143" y="1295400"/>
                </a:moveTo>
                <a:lnTo>
                  <a:pt x="2566542" y="1295400"/>
                </a:lnTo>
                <a:lnTo>
                  <a:pt x="2573134" y="1282700"/>
                </a:lnTo>
                <a:lnTo>
                  <a:pt x="2577587" y="1282700"/>
                </a:lnTo>
                <a:lnTo>
                  <a:pt x="2579223" y="1270000"/>
                </a:lnTo>
                <a:lnTo>
                  <a:pt x="2579223" y="990600"/>
                </a:lnTo>
                <a:lnTo>
                  <a:pt x="2577587" y="990600"/>
                </a:lnTo>
                <a:lnTo>
                  <a:pt x="2573134" y="977900"/>
                </a:lnTo>
                <a:lnTo>
                  <a:pt x="2752143" y="977900"/>
                </a:lnTo>
                <a:lnTo>
                  <a:pt x="2752143" y="1295400"/>
                </a:lnTo>
                <a:close/>
              </a:path>
              <a:path w="2897505" h="2171700">
                <a:moveTo>
                  <a:pt x="1342805" y="1282700"/>
                </a:moveTo>
                <a:lnTo>
                  <a:pt x="1167883" y="1282700"/>
                </a:lnTo>
                <a:lnTo>
                  <a:pt x="1169518" y="1270000"/>
                </a:lnTo>
                <a:lnTo>
                  <a:pt x="1169518" y="990600"/>
                </a:lnTo>
                <a:lnTo>
                  <a:pt x="1341170" y="990600"/>
                </a:lnTo>
                <a:lnTo>
                  <a:pt x="1341170" y="1270000"/>
                </a:lnTo>
                <a:lnTo>
                  <a:pt x="1342805" y="1282700"/>
                </a:lnTo>
                <a:close/>
              </a:path>
              <a:path w="2897505" h="2171700">
                <a:moveTo>
                  <a:pt x="1729205" y="1282700"/>
                </a:moveTo>
                <a:lnTo>
                  <a:pt x="1554282" y="1282700"/>
                </a:lnTo>
                <a:lnTo>
                  <a:pt x="1555917" y="1270000"/>
                </a:lnTo>
                <a:lnTo>
                  <a:pt x="1555917" y="990600"/>
                </a:lnTo>
                <a:lnTo>
                  <a:pt x="1727569" y="990600"/>
                </a:lnTo>
                <a:lnTo>
                  <a:pt x="1727569" y="1270000"/>
                </a:lnTo>
                <a:lnTo>
                  <a:pt x="1729205" y="1282700"/>
                </a:lnTo>
                <a:close/>
              </a:path>
              <a:path w="2897505" h="2171700">
                <a:moveTo>
                  <a:pt x="1353851" y="1295400"/>
                </a:moveTo>
                <a:lnTo>
                  <a:pt x="1156837" y="1295400"/>
                </a:lnTo>
                <a:lnTo>
                  <a:pt x="1163429" y="1282700"/>
                </a:lnTo>
                <a:lnTo>
                  <a:pt x="1347259" y="1282700"/>
                </a:lnTo>
                <a:lnTo>
                  <a:pt x="1353851" y="1295400"/>
                </a:lnTo>
                <a:close/>
              </a:path>
              <a:path w="2897505" h="2171700">
                <a:moveTo>
                  <a:pt x="1740250" y="1295400"/>
                </a:moveTo>
                <a:lnTo>
                  <a:pt x="1543237" y="1295400"/>
                </a:lnTo>
                <a:lnTo>
                  <a:pt x="1549829" y="1282700"/>
                </a:lnTo>
                <a:lnTo>
                  <a:pt x="1733658" y="1282700"/>
                </a:lnTo>
                <a:lnTo>
                  <a:pt x="1740250" y="1295400"/>
                </a:lnTo>
                <a:close/>
              </a:path>
              <a:path w="2897505" h="2171700">
                <a:moveTo>
                  <a:pt x="705531" y="1828800"/>
                </a:moveTo>
                <a:lnTo>
                  <a:pt x="519840" y="1828800"/>
                </a:lnTo>
                <a:lnTo>
                  <a:pt x="526432" y="1816100"/>
                </a:lnTo>
                <a:lnTo>
                  <a:pt x="530885" y="1816100"/>
                </a:lnTo>
                <a:lnTo>
                  <a:pt x="532521" y="1803400"/>
                </a:lnTo>
                <a:lnTo>
                  <a:pt x="532521" y="1524000"/>
                </a:lnTo>
                <a:lnTo>
                  <a:pt x="530885" y="1511300"/>
                </a:lnTo>
                <a:lnTo>
                  <a:pt x="519840" y="1511300"/>
                </a:lnTo>
                <a:lnTo>
                  <a:pt x="511788" y="1498600"/>
                </a:lnTo>
                <a:lnTo>
                  <a:pt x="705531" y="1498600"/>
                </a:lnTo>
                <a:lnTo>
                  <a:pt x="705531" y="1828800"/>
                </a:lnTo>
                <a:close/>
              </a:path>
              <a:path w="2897505" h="2171700">
                <a:moveTo>
                  <a:pt x="1323820" y="1511300"/>
                </a:moveTo>
                <a:lnTo>
                  <a:pt x="1156837" y="1511300"/>
                </a:lnTo>
                <a:lnTo>
                  <a:pt x="1148785" y="1498600"/>
                </a:lnTo>
                <a:lnTo>
                  <a:pt x="1334471" y="1498600"/>
                </a:lnTo>
                <a:lnTo>
                  <a:pt x="1323820" y="1511300"/>
                </a:lnTo>
                <a:close/>
              </a:path>
              <a:path w="2897505" h="2171700">
                <a:moveTo>
                  <a:pt x="1740250" y="1511300"/>
                </a:moveTo>
                <a:lnTo>
                  <a:pt x="1573267" y="1511300"/>
                </a:lnTo>
                <a:lnTo>
                  <a:pt x="1562616" y="1498600"/>
                </a:lnTo>
                <a:lnTo>
                  <a:pt x="1748302" y="1498600"/>
                </a:lnTo>
                <a:lnTo>
                  <a:pt x="1740250" y="1511300"/>
                </a:lnTo>
                <a:close/>
              </a:path>
              <a:path w="2897505" h="2171700">
                <a:moveTo>
                  <a:pt x="2134067" y="1828800"/>
                </a:moveTo>
                <a:lnTo>
                  <a:pt x="1929545" y="1828800"/>
                </a:lnTo>
                <a:lnTo>
                  <a:pt x="1936137" y="1816100"/>
                </a:lnTo>
                <a:lnTo>
                  <a:pt x="1940590" y="1816100"/>
                </a:lnTo>
                <a:lnTo>
                  <a:pt x="1942225" y="1803400"/>
                </a:lnTo>
                <a:lnTo>
                  <a:pt x="1942225" y="1524000"/>
                </a:lnTo>
                <a:lnTo>
                  <a:pt x="1940590" y="1511300"/>
                </a:lnTo>
                <a:lnTo>
                  <a:pt x="1929545" y="1511300"/>
                </a:lnTo>
                <a:lnTo>
                  <a:pt x="1921493" y="1498600"/>
                </a:lnTo>
                <a:lnTo>
                  <a:pt x="2134067" y="1498600"/>
                </a:lnTo>
                <a:lnTo>
                  <a:pt x="2134067" y="1828800"/>
                </a:lnTo>
                <a:close/>
              </a:path>
              <a:path w="2897505" h="2171700">
                <a:moveTo>
                  <a:pt x="2752143" y="1828800"/>
                </a:moveTo>
                <a:lnTo>
                  <a:pt x="2566542" y="1828800"/>
                </a:lnTo>
                <a:lnTo>
                  <a:pt x="2573134" y="1816100"/>
                </a:lnTo>
                <a:lnTo>
                  <a:pt x="2577587" y="1816100"/>
                </a:lnTo>
                <a:lnTo>
                  <a:pt x="2579223" y="1803400"/>
                </a:lnTo>
                <a:lnTo>
                  <a:pt x="2579223" y="1524000"/>
                </a:lnTo>
                <a:lnTo>
                  <a:pt x="2577587" y="1511300"/>
                </a:lnTo>
                <a:lnTo>
                  <a:pt x="2566542" y="1511300"/>
                </a:lnTo>
                <a:lnTo>
                  <a:pt x="2558490" y="1498600"/>
                </a:lnTo>
                <a:lnTo>
                  <a:pt x="2752143" y="1498600"/>
                </a:lnTo>
                <a:lnTo>
                  <a:pt x="2752143" y="1828800"/>
                </a:lnTo>
                <a:close/>
              </a:path>
              <a:path w="2897505" h="2171700">
                <a:moveTo>
                  <a:pt x="1307129" y="1828800"/>
                </a:moveTo>
                <a:lnTo>
                  <a:pt x="1156837" y="1828800"/>
                </a:lnTo>
                <a:lnTo>
                  <a:pt x="1163429" y="1816100"/>
                </a:lnTo>
                <a:lnTo>
                  <a:pt x="1167883" y="1816100"/>
                </a:lnTo>
                <a:lnTo>
                  <a:pt x="1169518" y="1803400"/>
                </a:lnTo>
                <a:lnTo>
                  <a:pt x="1169518" y="1524000"/>
                </a:lnTo>
                <a:lnTo>
                  <a:pt x="1167883" y="1511300"/>
                </a:lnTo>
                <a:lnTo>
                  <a:pt x="1315130" y="1511300"/>
                </a:lnTo>
                <a:lnTo>
                  <a:pt x="1309275" y="1524000"/>
                </a:lnTo>
                <a:lnTo>
                  <a:pt x="1307129" y="1536700"/>
                </a:lnTo>
                <a:lnTo>
                  <a:pt x="1307129" y="1828800"/>
                </a:lnTo>
                <a:close/>
              </a:path>
              <a:path w="2897505" h="2171700">
                <a:moveTo>
                  <a:pt x="2134067" y="2019300"/>
                </a:moveTo>
                <a:lnTo>
                  <a:pt x="1589958" y="2019300"/>
                </a:lnTo>
                <a:lnTo>
                  <a:pt x="1589958" y="1536700"/>
                </a:lnTo>
                <a:lnTo>
                  <a:pt x="1587812" y="1524000"/>
                </a:lnTo>
                <a:lnTo>
                  <a:pt x="1581957" y="1511300"/>
                </a:lnTo>
                <a:lnTo>
                  <a:pt x="1729205" y="1511300"/>
                </a:lnTo>
                <a:lnTo>
                  <a:pt x="1727569" y="1524000"/>
                </a:lnTo>
                <a:lnTo>
                  <a:pt x="1727569" y="1803400"/>
                </a:lnTo>
                <a:lnTo>
                  <a:pt x="1729205" y="1816100"/>
                </a:lnTo>
                <a:lnTo>
                  <a:pt x="1733658" y="1816100"/>
                </a:lnTo>
                <a:lnTo>
                  <a:pt x="1740250" y="1828800"/>
                </a:lnTo>
                <a:lnTo>
                  <a:pt x="2134067" y="1828800"/>
                </a:lnTo>
                <a:lnTo>
                  <a:pt x="2134067" y="2019300"/>
                </a:lnTo>
                <a:close/>
              </a:path>
              <a:path w="2897505" h="2171700">
                <a:moveTo>
                  <a:pt x="2897088" y="2171700"/>
                </a:moveTo>
                <a:lnTo>
                  <a:pt x="0" y="2171700"/>
                </a:lnTo>
                <a:lnTo>
                  <a:pt x="0" y="2019300"/>
                </a:lnTo>
                <a:lnTo>
                  <a:pt x="2897088" y="2019300"/>
                </a:lnTo>
                <a:lnTo>
                  <a:pt x="2897088" y="2171700"/>
                </a:lnTo>
                <a:close/>
              </a:path>
            </a:pathLst>
          </a:custGeom>
          <a:solidFill>
            <a:srgbClr val="E4DFCD"/>
          </a:solidFill>
        </p:spPr>
        <p:txBody>
          <a:bodyPr wrap="square" lIns="0" tIns="0" rIns="0" bIns="0" rtlCol="0"/>
          <a:lstStyle/>
          <a:p>
            <a:pPr defTabSz="609630"/>
            <a:endParaRPr sz="1200" kern="0">
              <a:solidFill>
                <a:sysClr val="windowText" lastClr="000000"/>
              </a:solidFill>
            </a:endParaRPr>
          </a:p>
        </p:txBody>
      </p:sp>
      <p:sp>
        <p:nvSpPr>
          <p:cNvPr id="21" name="object 21"/>
          <p:cNvSpPr txBox="1">
            <a:spLocks noGrp="1"/>
          </p:cNvSpPr>
          <p:nvPr>
            <p:ph type="title"/>
          </p:nvPr>
        </p:nvSpPr>
        <p:spPr>
          <a:xfrm>
            <a:off x="435182" y="381180"/>
            <a:ext cx="5297593" cy="2633199"/>
          </a:xfrm>
          <a:prstGeom prst="rect">
            <a:avLst/>
          </a:prstGeom>
        </p:spPr>
        <p:txBody>
          <a:bodyPr vert="horz" wrap="square" lIns="0" tIns="93133" rIns="0" bIns="0" rtlCol="0">
            <a:spAutoFit/>
          </a:bodyPr>
          <a:lstStyle/>
          <a:p>
            <a:pPr marL="8467" marR="3387">
              <a:lnSpc>
                <a:spcPts val="6600"/>
              </a:lnSpc>
              <a:spcBef>
                <a:spcPts val="733"/>
              </a:spcBef>
            </a:pPr>
            <a:r>
              <a:rPr spc="260" dirty="0"/>
              <a:t>Current</a:t>
            </a:r>
            <a:r>
              <a:rPr spc="-417" dirty="0"/>
              <a:t> </a:t>
            </a:r>
            <a:r>
              <a:rPr spc="-17" dirty="0"/>
              <a:t>OB </a:t>
            </a:r>
            <a:r>
              <a:rPr spc="87" dirty="0"/>
              <a:t>Ecosystem</a:t>
            </a:r>
            <a:r>
              <a:rPr spc="-420" dirty="0"/>
              <a:t> </a:t>
            </a:r>
            <a:r>
              <a:rPr spc="53" dirty="0"/>
              <a:t>on </a:t>
            </a:r>
            <a:r>
              <a:rPr spc="253" dirty="0"/>
              <a:t>the</a:t>
            </a:r>
            <a:r>
              <a:rPr spc="-413" dirty="0"/>
              <a:t> </a:t>
            </a:r>
            <a:r>
              <a:rPr spc="193" dirty="0"/>
              <a:t>South</a:t>
            </a:r>
            <a:r>
              <a:rPr spc="-413" dirty="0"/>
              <a:t> </a:t>
            </a:r>
            <a:r>
              <a:rPr spc="136" dirty="0"/>
              <a:t>Side:</a:t>
            </a:r>
          </a:p>
        </p:txBody>
      </p:sp>
      <p:pic>
        <p:nvPicPr>
          <p:cNvPr id="22" name="object 22"/>
          <p:cNvPicPr/>
          <p:nvPr/>
        </p:nvPicPr>
        <p:blipFill>
          <a:blip r:embed="rId4" cstate="print"/>
          <a:stretch>
            <a:fillRect/>
          </a:stretch>
        </p:blipFill>
        <p:spPr>
          <a:xfrm>
            <a:off x="729398" y="3985016"/>
            <a:ext cx="95249" cy="95249"/>
          </a:xfrm>
          <a:prstGeom prst="rect">
            <a:avLst/>
          </a:prstGeom>
        </p:spPr>
      </p:pic>
      <p:pic>
        <p:nvPicPr>
          <p:cNvPr id="23" name="object 23"/>
          <p:cNvPicPr/>
          <p:nvPr/>
        </p:nvPicPr>
        <p:blipFill>
          <a:blip r:embed="rId4" cstate="print"/>
          <a:stretch>
            <a:fillRect/>
          </a:stretch>
        </p:blipFill>
        <p:spPr>
          <a:xfrm>
            <a:off x="729398" y="4410466"/>
            <a:ext cx="95249" cy="95249"/>
          </a:xfrm>
          <a:prstGeom prst="rect">
            <a:avLst/>
          </a:prstGeom>
        </p:spPr>
      </p:pic>
      <p:pic>
        <p:nvPicPr>
          <p:cNvPr id="24" name="object 24"/>
          <p:cNvPicPr/>
          <p:nvPr/>
        </p:nvPicPr>
        <p:blipFill>
          <a:blip r:embed="rId4" cstate="print"/>
          <a:stretch>
            <a:fillRect/>
          </a:stretch>
        </p:blipFill>
        <p:spPr>
          <a:xfrm>
            <a:off x="729398" y="4835916"/>
            <a:ext cx="95249" cy="95249"/>
          </a:xfrm>
          <a:prstGeom prst="rect">
            <a:avLst/>
          </a:prstGeom>
        </p:spPr>
      </p:pic>
      <p:pic>
        <p:nvPicPr>
          <p:cNvPr id="25" name="object 25"/>
          <p:cNvPicPr/>
          <p:nvPr/>
        </p:nvPicPr>
        <p:blipFill>
          <a:blip r:embed="rId4" cstate="print"/>
          <a:stretch>
            <a:fillRect/>
          </a:stretch>
        </p:blipFill>
        <p:spPr>
          <a:xfrm>
            <a:off x="729398" y="5261366"/>
            <a:ext cx="95249" cy="95249"/>
          </a:xfrm>
          <a:prstGeom prst="rect">
            <a:avLst/>
          </a:prstGeom>
        </p:spPr>
      </p:pic>
      <p:pic>
        <p:nvPicPr>
          <p:cNvPr id="26" name="object 26"/>
          <p:cNvPicPr/>
          <p:nvPr/>
        </p:nvPicPr>
        <p:blipFill>
          <a:blip r:embed="rId4" cstate="print"/>
          <a:stretch>
            <a:fillRect/>
          </a:stretch>
        </p:blipFill>
        <p:spPr>
          <a:xfrm>
            <a:off x="729398" y="5686816"/>
            <a:ext cx="95249" cy="95249"/>
          </a:xfrm>
          <a:prstGeom prst="rect">
            <a:avLst/>
          </a:prstGeom>
        </p:spPr>
      </p:pic>
      <p:pic>
        <p:nvPicPr>
          <p:cNvPr id="27" name="object 27"/>
          <p:cNvPicPr/>
          <p:nvPr/>
        </p:nvPicPr>
        <p:blipFill>
          <a:blip r:embed="rId4" cstate="print"/>
          <a:stretch>
            <a:fillRect/>
          </a:stretch>
        </p:blipFill>
        <p:spPr>
          <a:xfrm>
            <a:off x="729398" y="6112266"/>
            <a:ext cx="95249" cy="95249"/>
          </a:xfrm>
          <a:prstGeom prst="rect">
            <a:avLst/>
          </a:prstGeom>
        </p:spPr>
      </p:pic>
      <p:sp>
        <p:nvSpPr>
          <p:cNvPr id="28" name="object 28"/>
          <p:cNvSpPr txBox="1"/>
          <p:nvPr/>
        </p:nvSpPr>
        <p:spPr>
          <a:xfrm>
            <a:off x="953302" y="3751760"/>
            <a:ext cx="4564803" cy="2535332"/>
          </a:xfrm>
          <a:prstGeom prst="rect">
            <a:avLst/>
          </a:prstGeom>
        </p:spPr>
        <p:txBody>
          <a:bodyPr vert="horz" wrap="square" lIns="0" tIns="8467" rIns="0" bIns="0" rtlCol="0">
            <a:spAutoFit/>
          </a:bodyPr>
          <a:lstStyle/>
          <a:p>
            <a:pPr marL="8467" marR="1806454" defTabSz="609630">
              <a:lnSpc>
                <a:spcPct val="116300"/>
              </a:lnSpc>
              <a:spcBef>
                <a:spcPts val="67"/>
              </a:spcBef>
            </a:pPr>
            <a:r>
              <a:rPr sz="2400" kern="0" dirty="0">
                <a:solidFill>
                  <a:srgbClr val="8F5D45"/>
                </a:solidFill>
                <a:latin typeface="Tahoma"/>
                <a:cs typeface="Tahoma"/>
              </a:rPr>
              <a:t>Geographical</a:t>
            </a:r>
            <a:r>
              <a:rPr sz="2400" kern="0" spc="-107" dirty="0">
                <a:solidFill>
                  <a:srgbClr val="8F5D45"/>
                </a:solidFill>
                <a:latin typeface="Tahoma"/>
                <a:cs typeface="Tahoma"/>
              </a:rPr>
              <a:t> </a:t>
            </a:r>
            <a:r>
              <a:rPr sz="2400" kern="0" spc="27" dirty="0">
                <a:solidFill>
                  <a:srgbClr val="8F5D45"/>
                </a:solidFill>
                <a:latin typeface="Tahoma"/>
                <a:cs typeface="Tahoma"/>
              </a:rPr>
              <a:t>Desert </a:t>
            </a:r>
            <a:r>
              <a:rPr sz="2400" kern="0" dirty="0">
                <a:solidFill>
                  <a:srgbClr val="8F5D45"/>
                </a:solidFill>
                <a:latin typeface="Tahoma"/>
                <a:cs typeface="Tahoma"/>
              </a:rPr>
              <a:t>Lack</a:t>
            </a:r>
            <a:r>
              <a:rPr sz="2400" kern="0" spc="-130" dirty="0">
                <a:solidFill>
                  <a:srgbClr val="8F5D45"/>
                </a:solidFill>
                <a:latin typeface="Tahoma"/>
                <a:cs typeface="Tahoma"/>
              </a:rPr>
              <a:t> </a:t>
            </a:r>
            <a:r>
              <a:rPr sz="2400" kern="0" spc="60" dirty="0">
                <a:solidFill>
                  <a:srgbClr val="8F5D45"/>
                </a:solidFill>
                <a:latin typeface="Tahoma"/>
                <a:cs typeface="Tahoma"/>
              </a:rPr>
              <a:t>of</a:t>
            </a:r>
            <a:r>
              <a:rPr sz="2400" kern="0" spc="-127" dirty="0">
                <a:solidFill>
                  <a:srgbClr val="8F5D45"/>
                </a:solidFill>
                <a:latin typeface="Tahoma"/>
                <a:cs typeface="Tahoma"/>
              </a:rPr>
              <a:t> </a:t>
            </a:r>
            <a:r>
              <a:rPr sz="2400" kern="0" spc="27" dirty="0">
                <a:solidFill>
                  <a:srgbClr val="8F5D45"/>
                </a:solidFill>
                <a:latin typeface="Tahoma"/>
                <a:cs typeface="Tahoma"/>
              </a:rPr>
              <a:t>Continuity</a:t>
            </a:r>
            <a:endParaRPr sz="2400" kern="0">
              <a:solidFill>
                <a:sysClr val="windowText" lastClr="000000"/>
              </a:solidFill>
              <a:latin typeface="Tahoma"/>
              <a:cs typeface="Tahoma"/>
            </a:endParaRPr>
          </a:p>
          <a:p>
            <a:pPr marL="8467" marR="3387" defTabSz="609630">
              <a:lnSpc>
                <a:spcPct val="116300"/>
              </a:lnSpc>
            </a:pPr>
            <a:r>
              <a:rPr sz="2400" kern="0" spc="37" dirty="0">
                <a:solidFill>
                  <a:srgbClr val="8F5D45"/>
                </a:solidFill>
                <a:latin typeface="Tahoma"/>
                <a:cs typeface="Tahoma"/>
              </a:rPr>
              <a:t>Client</a:t>
            </a:r>
            <a:r>
              <a:rPr sz="2400" kern="0" spc="-70" dirty="0">
                <a:solidFill>
                  <a:srgbClr val="8F5D45"/>
                </a:solidFill>
                <a:latin typeface="Tahoma"/>
                <a:cs typeface="Tahoma"/>
              </a:rPr>
              <a:t> </a:t>
            </a:r>
            <a:r>
              <a:rPr sz="2400" kern="0" dirty="0">
                <a:solidFill>
                  <a:srgbClr val="8F5D45"/>
                </a:solidFill>
                <a:latin typeface="Tahoma"/>
                <a:cs typeface="Tahoma"/>
              </a:rPr>
              <a:t>Distrust</a:t>
            </a:r>
            <a:r>
              <a:rPr sz="2400" kern="0" spc="-67" dirty="0">
                <a:solidFill>
                  <a:srgbClr val="8F5D45"/>
                </a:solidFill>
                <a:latin typeface="Tahoma"/>
                <a:cs typeface="Tahoma"/>
              </a:rPr>
              <a:t> </a:t>
            </a:r>
            <a:r>
              <a:rPr sz="2400" kern="0" spc="-13" dirty="0">
                <a:solidFill>
                  <a:srgbClr val="8F5D45"/>
                </a:solidFill>
                <a:latin typeface="Tahoma"/>
                <a:cs typeface="Tahoma"/>
              </a:rPr>
              <a:t>and</a:t>
            </a:r>
            <a:r>
              <a:rPr sz="2400" kern="0" spc="-67" dirty="0">
                <a:solidFill>
                  <a:srgbClr val="8F5D45"/>
                </a:solidFill>
                <a:latin typeface="Tahoma"/>
                <a:cs typeface="Tahoma"/>
              </a:rPr>
              <a:t> </a:t>
            </a:r>
            <a:r>
              <a:rPr sz="2400" kern="0" spc="-7" dirty="0">
                <a:solidFill>
                  <a:srgbClr val="8F5D45"/>
                </a:solidFill>
                <a:latin typeface="Tahoma"/>
                <a:cs typeface="Tahoma"/>
              </a:rPr>
              <a:t>Dissatisfaction </a:t>
            </a:r>
            <a:r>
              <a:rPr sz="2400" kern="0" dirty="0">
                <a:solidFill>
                  <a:srgbClr val="8F5D45"/>
                </a:solidFill>
                <a:latin typeface="Tahoma"/>
                <a:cs typeface="Tahoma"/>
              </a:rPr>
              <a:t>Systemic</a:t>
            </a:r>
            <a:r>
              <a:rPr sz="2400" kern="0" spc="-133" dirty="0">
                <a:solidFill>
                  <a:srgbClr val="8F5D45"/>
                </a:solidFill>
                <a:latin typeface="Tahoma"/>
                <a:cs typeface="Tahoma"/>
              </a:rPr>
              <a:t> </a:t>
            </a:r>
            <a:r>
              <a:rPr sz="2400" kern="0" spc="-7" dirty="0">
                <a:solidFill>
                  <a:srgbClr val="8F5D45"/>
                </a:solidFill>
                <a:latin typeface="Tahoma"/>
                <a:cs typeface="Tahoma"/>
              </a:rPr>
              <a:t>Racism</a:t>
            </a:r>
            <a:endParaRPr sz="2400" kern="0">
              <a:solidFill>
                <a:sysClr val="windowText" lastClr="000000"/>
              </a:solidFill>
              <a:latin typeface="Tahoma"/>
              <a:cs typeface="Tahoma"/>
            </a:endParaRPr>
          </a:p>
          <a:p>
            <a:pPr marL="8467" marR="797177" defTabSz="609630">
              <a:lnSpc>
                <a:spcPct val="116300"/>
              </a:lnSpc>
            </a:pPr>
            <a:r>
              <a:rPr sz="2400" kern="0" dirty="0">
                <a:solidFill>
                  <a:srgbClr val="8F5D45"/>
                </a:solidFill>
                <a:latin typeface="Tahoma"/>
                <a:cs typeface="Tahoma"/>
              </a:rPr>
              <a:t>Racialized</a:t>
            </a:r>
            <a:r>
              <a:rPr sz="2400" kern="0" spc="-143" dirty="0">
                <a:solidFill>
                  <a:srgbClr val="8F5D45"/>
                </a:solidFill>
                <a:latin typeface="Tahoma"/>
                <a:cs typeface="Tahoma"/>
              </a:rPr>
              <a:t> </a:t>
            </a:r>
            <a:r>
              <a:rPr sz="2400" kern="0" spc="37" dirty="0">
                <a:solidFill>
                  <a:srgbClr val="8F5D45"/>
                </a:solidFill>
                <a:latin typeface="Tahoma"/>
                <a:cs typeface="Tahoma"/>
              </a:rPr>
              <a:t>Obstetric</a:t>
            </a:r>
            <a:r>
              <a:rPr sz="2400" kern="0" spc="-143" dirty="0">
                <a:solidFill>
                  <a:srgbClr val="8F5D45"/>
                </a:solidFill>
                <a:latin typeface="Tahoma"/>
                <a:cs typeface="Tahoma"/>
              </a:rPr>
              <a:t> </a:t>
            </a:r>
            <a:r>
              <a:rPr sz="2400" kern="0" spc="-17" dirty="0">
                <a:solidFill>
                  <a:srgbClr val="8F5D45"/>
                </a:solidFill>
                <a:latin typeface="Tahoma"/>
                <a:cs typeface="Tahoma"/>
              </a:rPr>
              <a:t>Trauma </a:t>
            </a:r>
            <a:r>
              <a:rPr sz="2400" kern="0" spc="173" dirty="0">
                <a:solidFill>
                  <a:srgbClr val="8F5D45"/>
                </a:solidFill>
                <a:latin typeface="Tahoma"/>
                <a:cs typeface="Tahoma"/>
              </a:rPr>
              <a:t>OB</a:t>
            </a:r>
            <a:r>
              <a:rPr sz="2400" kern="0" spc="-136" dirty="0">
                <a:solidFill>
                  <a:srgbClr val="8F5D45"/>
                </a:solidFill>
                <a:latin typeface="Tahoma"/>
                <a:cs typeface="Tahoma"/>
              </a:rPr>
              <a:t> </a:t>
            </a:r>
            <a:r>
              <a:rPr sz="2400" kern="0" spc="-7" dirty="0">
                <a:solidFill>
                  <a:srgbClr val="8F5D45"/>
                </a:solidFill>
                <a:latin typeface="Tahoma"/>
                <a:cs typeface="Tahoma"/>
              </a:rPr>
              <a:t>Closures</a:t>
            </a:r>
            <a:endParaRPr sz="2400" kern="0">
              <a:solidFill>
                <a:sysClr val="windowText" lastClr="000000"/>
              </a:solidFill>
              <a:latin typeface="Tahoma"/>
              <a:cs typeface="Tahom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25892" y="672352"/>
            <a:ext cx="9340215" cy="1071305"/>
          </a:xfrm>
          <a:prstGeom prst="rect">
            <a:avLst/>
          </a:prstGeom>
        </p:spPr>
        <p:txBody>
          <a:bodyPr vert="horz" wrap="square" lIns="0" tIns="390384" rIns="0" bIns="0" rtlCol="0">
            <a:spAutoFit/>
          </a:bodyPr>
          <a:lstStyle/>
          <a:p>
            <a:pPr marL="493395">
              <a:lnSpc>
                <a:spcPct val="100000"/>
              </a:lnSpc>
              <a:spcBef>
                <a:spcPts val="95"/>
              </a:spcBef>
            </a:pPr>
            <a:r>
              <a:rPr sz="4400" dirty="0"/>
              <a:t>Introducing</a:t>
            </a:r>
            <a:r>
              <a:rPr sz="4400" spc="-185" dirty="0"/>
              <a:t> </a:t>
            </a:r>
            <a:r>
              <a:rPr sz="4400" dirty="0"/>
              <a:t>Our</a:t>
            </a:r>
            <a:r>
              <a:rPr sz="4400" spc="-165" dirty="0"/>
              <a:t> </a:t>
            </a:r>
            <a:r>
              <a:rPr sz="4400" dirty="0"/>
              <a:t>Guest</a:t>
            </a:r>
            <a:r>
              <a:rPr sz="4400" spc="-160" dirty="0"/>
              <a:t> </a:t>
            </a:r>
            <a:r>
              <a:rPr sz="4400" spc="-10" dirty="0"/>
              <a:t>Speaker</a:t>
            </a:r>
            <a:r>
              <a:rPr lang="en-US" sz="4400" spc="-10" dirty="0"/>
              <a:t>s</a:t>
            </a:r>
            <a:r>
              <a:rPr sz="4400" spc="-10" dirty="0"/>
              <a:t>:</a:t>
            </a:r>
            <a:endParaRPr sz="4400" dirty="0"/>
          </a:p>
        </p:txBody>
      </p:sp>
      <p:sp>
        <p:nvSpPr>
          <p:cNvPr id="5" name="object 5"/>
          <p:cNvSpPr txBox="1"/>
          <p:nvPr/>
        </p:nvSpPr>
        <p:spPr>
          <a:xfrm>
            <a:off x="11499342" y="6569373"/>
            <a:ext cx="95250" cy="167640"/>
          </a:xfrm>
          <a:prstGeom prst="rect">
            <a:avLst/>
          </a:prstGeom>
        </p:spPr>
        <p:txBody>
          <a:bodyPr vert="horz" wrap="square" lIns="0" tIns="0" rIns="0" bIns="0" rtlCol="0">
            <a:spAutoFit/>
          </a:bodyPr>
          <a:lstStyle/>
          <a:p>
            <a:pPr marL="12700" marR="0" lvl="0" indent="0" defTabSz="914400" eaLnBrk="1" fontAlgn="auto" latinLnBrk="0" hangingPunct="1">
              <a:lnSpc>
                <a:spcPts val="1125"/>
              </a:lnSpc>
              <a:spcBef>
                <a:spcPts val="0"/>
              </a:spcBef>
              <a:spcAft>
                <a:spcPts val="0"/>
              </a:spcAft>
              <a:buClrTx/>
              <a:buSzTx/>
              <a:buFontTx/>
              <a:buNone/>
              <a:tabLst/>
              <a:defRPr/>
            </a:pPr>
            <a:r>
              <a:rPr kumimoji="0" sz="1100" b="0" i="0" u="none" strike="noStrike" kern="0" cap="none" spc="-5" normalizeH="0" baseline="0" noProof="0" dirty="0">
                <a:ln>
                  <a:noFill/>
                </a:ln>
                <a:solidFill>
                  <a:sysClr val="windowText" lastClr="000000"/>
                </a:solidFill>
                <a:effectLst/>
                <a:uLnTx/>
                <a:uFillTx/>
                <a:latin typeface="Palatino Linotype"/>
                <a:cs typeface="Palatino Linotype"/>
              </a:rPr>
              <a:t>9</a:t>
            </a:r>
            <a:endParaRPr kumimoji="0" sz="1100" b="0" i="0" u="none" strike="noStrike" kern="0" cap="none" spc="0" normalizeH="0" baseline="0" noProof="0">
              <a:ln>
                <a:noFill/>
              </a:ln>
              <a:solidFill>
                <a:sysClr val="windowText" lastClr="000000"/>
              </a:solidFill>
              <a:effectLst/>
              <a:uLnTx/>
              <a:uFillTx/>
              <a:latin typeface="Palatino Linotype"/>
              <a:cs typeface="Palatino Linotype"/>
            </a:endParaRPr>
          </a:p>
        </p:txBody>
      </p:sp>
      <p:sp>
        <p:nvSpPr>
          <p:cNvPr id="6" name="object 3">
            <a:extLst>
              <a:ext uri="{FF2B5EF4-FFF2-40B4-BE49-F238E27FC236}">
                <a16:creationId xmlns:a16="http://schemas.microsoft.com/office/drawing/2014/main" id="{AC71E613-2785-D239-C78D-006C58F399B2}"/>
              </a:ext>
            </a:extLst>
          </p:cNvPr>
          <p:cNvSpPr txBox="1"/>
          <p:nvPr/>
        </p:nvSpPr>
        <p:spPr>
          <a:xfrm>
            <a:off x="597408" y="4626424"/>
            <a:ext cx="3227294" cy="1858073"/>
          </a:xfrm>
          <a:prstGeom prst="rect">
            <a:avLst/>
          </a:prstGeom>
          <a:ln>
            <a:noFill/>
          </a:ln>
        </p:spPr>
        <p:txBody>
          <a:bodyPr vert="horz" wrap="square" lIns="0" tIns="64135" rIns="0" bIns="0" rtlCol="0">
            <a:spAutoFit/>
          </a:bodyPr>
          <a:lstStyle/>
          <a:p>
            <a:pPr marL="12700" marR="5080" lvl="0" indent="0" algn="ctr" defTabSz="914400" eaLnBrk="1" fontAlgn="auto" latinLnBrk="0" hangingPunct="1">
              <a:lnSpc>
                <a:spcPct val="109000"/>
              </a:lnSpc>
              <a:spcBef>
                <a:spcPts val="505"/>
              </a:spcBef>
              <a:spcAft>
                <a:spcPts val="0"/>
              </a:spcAft>
              <a:buClrTx/>
              <a:buSzTx/>
              <a:buFontTx/>
              <a:buNone/>
              <a:tabLst/>
              <a:defRPr/>
            </a:pPr>
            <a:r>
              <a:rPr kumimoji="0" lang="en-US" b="1" i="0" u="none" strike="noStrike" kern="0" cap="none" spc="0" normalizeH="0" baseline="0" noProof="0" dirty="0">
                <a:ln>
                  <a:noFill/>
                </a:ln>
                <a:solidFill>
                  <a:sysClr val="windowText" lastClr="000000"/>
                </a:solidFill>
                <a:effectLst/>
                <a:uLnTx/>
                <a:uFillTx/>
                <a:latin typeface="Palatino Linotype"/>
                <a:cs typeface="Palatino Linotype"/>
              </a:rPr>
              <a:t>Gayle </a:t>
            </a:r>
            <a:r>
              <a:rPr kumimoji="0" lang="en-US" b="1" i="0" u="none" strike="noStrike" kern="0" cap="none" spc="0" normalizeH="0" baseline="0" noProof="0" dirty="0" err="1">
                <a:ln>
                  <a:noFill/>
                </a:ln>
                <a:solidFill>
                  <a:sysClr val="windowText" lastClr="000000"/>
                </a:solidFill>
                <a:effectLst/>
                <a:uLnTx/>
                <a:uFillTx/>
                <a:latin typeface="Palatino Linotype"/>
                <a:cs typeface="Palatino Linotype"/>
              </a:rPr>
              <a:t>Riedmann</a:t>
            </a:r>
            <a:r>
              <a:rPr kumimoji="0" lang="en-US" b="1" i="0" u="none" strike="noStrike" kern="0" cap="none" spc="0" normalizeH="0" baseline="0" noProof="0" dirty="0">
                <a:ln>
                  <a:noFill/>
                </a:ln>
                <a:solidFill>
                  <a:sysClr val="windowText" lastClr="000000"/>
                </a:solidFill>
                <a:effectLst/>
                <a:uLnTx/>
                <a:uFillTx/>
                <a:latin typeface="Palatino Linotype"/>
                <a:cs typeface="Palatino Linotype"/>
              </a:rPr>
              <a:t>, CNM-FPA, MS, FACNM</a:t>
            </a:r>
          </a:p>
          <a:p>
            <a:pPr marL="12700" marR="5080" lvl="0" indent="0" algn="ctr" defTabSz="914400" eaLnBrk="1" fontAlgn="auto" latinLnBrk="0" hangingPunct="1">
              <a:lnSpc>
                <a:spcPct val="109000"/>
              </a:lnSpc>
              <a:spcBef>
                <a:spcPts val="505"/>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Palatino Linotype"/>
                <a:cs typeface="Palatino Linotype"/>
              </a:rPr>
              <a:t>Co-Chair</a:t>
            </a:r>
          </a:p>
          <a:p>
            <a:pPr marL="12700" marR="5080" lvl="0" indent="0" algn="ctr" defTabSz="914400" eaLnBrk="1" fontAlgn="auto" latinLnBrk="0" hangingPunct="1">
              <a:lnSpc>
                <a:spcPct val="109000"/>
              </a:lnSpc>
              <a:spcBef>
                <a:spcPts val="505"/>
              </a:spcBef>
              <a:spcAft>
                <a:spcPts val="0"/>
              </a:spcAft>
              <a:buClrTx/>
              <a:buSzTx/>
              <a:buFontTx/>
              <a:buNone/>
              <a:tabLst/>
              <a:defRPr/>
            </a:pPr>
            <a:r>
              <a:rPr lang="en-US" sz="1600" kern="0" dirty="0">
                <a:solidFill>
                  <a:sysClr val="windowText" lastClr="000000"/>
                </a:solidFill>
                <a:latin typeface="Palatino Linotype"/>
                <a:cs typeface="Palatino Linotype"/>
              </a:rPr>
              <a:t>Illinois Birth Center Task Force of Health and Medicine Policy Research Group</a:t>
            </a:r>
            <a:endParaRPr kumimoji="0" sz="1600" b="0" i="0" u="none" strike="noStrike" kern="0" cap="none" spc="0" normalizeH="0" baseline="0" noProof="0" dirty="0">
              <a:ln>
                <a:noFill/>
              </a:ln>
              <a:solidFill>
                <a:sysClr val="windowText" lastClr="000000"/>
              </a:solidFill>
              <a:effectLst/>
              <a:uLnTx/>
              <a:uFillTx/>
              <a:latin typeface="Palatino Linotype"/>
              <a:cs typeface="Palatino Linotype"/>
            </a:endParaRPr>
          </a:p>
        </p:txBody>
      </p:sp>
      <p:pic>
        <p:nvPicPr>
          <p:cNvPr id="9" name="Picture 8" descr="A person smiling at the camera&#10;&#10;Description automatically generated">
            <a:extLst>
              <a:ext uri="{FF2B5EF4-FFF2-40B4-BE49-F238E27FC236}">
                <a16:creationId xmlns:a16="http://schemas.microsoft.com/office/drawing/2014/main" id="{7185C984-A635-1087-E599-709C9B3833BC}"/>
              </a:ext>
            </a:extLst>
          </p:cNvPr>
          <p:cNvPicPr>
            <a:picLocks noChangeAspect="1"/>
          </p:cNvPicPr>
          <p:nvPr/>
        </p:nvPicPr>
        <p:blipFill>
          <a:blip r:embed="rId2"/>
          <a:stretch>
            <a:fillRect/>
          </a:stretch>
        </p:blipFill>
        <p:spPr>
          <a:xfrm>
            <a:off x="1048341" y="2251988"/>
            <a:ext cx="2367212" cy="2367212"/>
          </a:xfrm>
          <a:prstGeom prst="rect">
            <a:avLst/>
          </a:prstGeom>
        </p:spPr>
      </p:pic>
      <p:pic>
        <p:nvPicPr>
          <p:cNvPr id="11" name="Picture 10" descr="A person smiling at the camera&#10;&#10;Description automatically generated">
            <a:extLst>
              <a:ext uri="{FF2B5EF4-FFF2-40B4-BE49-F238E27FC236}">
                <a16:creationId xmlns:a16="http://schemas.microsoft.com/office/drawing/2014/main" id="{76D478B4-1747-06A9-7F4D-25CF4EAC2EC5}"/>
              </a:ext>
            </a:extLst>
          </p:cNvPr>
          <p:cNvPicPr>
            <a:picLocks noChangeAspect="1"/>
          </p:cNvPicPr>
          <p:nvPr/>
        </p:nvPicPr>
        <p:blipFill rotWithShape="1">
          <a:blip r:embed="rId3"/>
          <a:srcRect t="9804" r="22481"/>
          <a:stretch/>
        </p:blipFill>
        <p:spPr>
          <a:xfrm>
            <a:off x="5005608" y="2194534"/>
            <a:ext cx="2367212" cy="2421086"/>
          </a:xfrm>
          <a:prstGeom prst="rect">
            <a:avLst/>
          </a:prstGeom>
        </p:spPr>
      </p:pic>
      <p:sp>
        <p:nvSpPr>
          <p:cNvPr id="12" name="object 3">
            <a:extLst>
              <a:ext uri="{FF2B5EF4-FFF2-40B4-BE49-F238E27FC236}">
                <a16:creationId xmlns:a16="http://schemas.microsoft.com/office/drawing/2014/main" id="{507B72B1-A171-4206-01C6-C5BAB4EFFA30}"/>
              </a:ext>
            </a:extLst>
          </p:cNvPr>
          <p:cNvSpPr txBox="1"/>
          <p:nvPr/>
        </p:nvSpPr>
        <p:spPr>
          <a:xfrm>
            <a:off x="4286152" y="4631485"/>
            <a:ext cx="3619694" cy="1019318"/>
          </a:xfrm>
          <a:prstGeom prst="rect">
            <a:avLst/>
          </a:prstGeom>
          <a:ln>
            <a:noFill/>
          </a:ln>
        </p:spPr>
        <p:txBody>
          <a:bodyPr vert="horz" wrap="square" lIns="0" tIns="64135" rIns="0" bIns="0" rtlCol="0">
            <a:spAutoFit/>
          </a:bodyPr>
          <a:lstStyle/>
          <a:p>
            <a:pPr marL="12700" marR="5080" lvl="0" indent="0" algn="ctr" defTabSz="914400" eaLnBrk="1" fontAlgn="auto" latinLnBrk="0" hangingPunct="1">
              <a:lnSpc>
                <a:spcPct val="109000"/>
              </a:lnSpc>
              <a:spcBef>
                <a:spcPts val="505"/>
              </a:spcBef>
              <a:spcAft>
                <a:spcPts val="0"/>
              </a:spcAft>
              <a:buClrTx/>
              <a:buSzTx/>
              <a:buFontTx/>
              <a:buNone/>
              <a:tabLst/>
              <a:defRPr/>
            </a:pPr>
            <a:r>
              <a:rPr kumimoji="0" lang="en-US" b="1" i="0" u="none" strike="noStrike" kern="0" cap="none" spc="0" normalizeH="0" baseline="0" noProof="0" dirty="0">
                <a:ln>
                  <a:noFill/>
                </a:ln>
                <a:solidFill>
                  <a:sysClr val="windowText" lastClr="000000"/>
                </a:solidFill>
                <a:effectLst/>
                <a:uLnTx/>
                <a:uFillTx/>
                <a:latin typeface="Palatino Linotype"/>
                <a:cs typeface="Palatino Linotype"/>
              </a:rPr>
              <a:t>Jeanine Valrie Logan</a:t>
            </a:r>
          </a:p>
          <a:p>
            <a:pPr marL="12700" marR="5080" lvl="0" indent="0" algn="ctr" defTabSz="914400" eaLnBrk="1" fontAlgn="auto" latinLnBrk="0" hangingPunct="1">
              <a:lnSpc>
                <a:spcPct val="109000"/>
              </a:lnSpc>
              <a:spcBef>
                <a:spcPts val="505"/>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Palatino Linotype"/>
                <a:cs typeface="Palatino Linotype"/>
              </a:rPr>
              <a:t>Founder and Lead Steward</a:t>
            </a:r>
          </a:p>
          <a:p>
            <a:pPr marL="12700" marR="5080" lvl="0" indent="0" algn="ctr" defTabSz="914400" eaLnBrk="1" fontAlgn="auto" latinLnBrk="0" hangingPunct="1">
              <a:lnSpc>
                <a:spcPct val="109000"/>
              </a:lnSpc>
              <a:spcBef>
                <a:spcPts val="505"/>
              </a:spcBef>
              <a:spcAft>
                <a:spcPts val="0"/>
              </a:spcAft>
              <a:buClrTx/>
              <a:buSzTx/>
              <a:buFontTx/>
              <a:buNone/>
              <a:tabLst/>
              <a:defRPr/>
            </a:pPr>
            <a:r>
              <a:rPr lang="en-US" sz="1600" kern="0" dirty="0">
                <a:solidFill>
                  <a:sysClr val="windowText" lastClr="000000"/>
                </a:solidFill>
                <a:latin typeface="Palatino Linotype"/>
                <a:cs typeface="Palatino Linotype"/>
              </a:rPr>
              <a:t>Chicago South Side Birth Center</a:t>
            </a:r>
            <a:endParaRPr kumimoji="0" sz="1600" b="0" i="0" u="none" strike="noStrike" kern="0" cap="none" spc="0" normalizeH="0" baseline="0" noProof="0" dirty="0">
              <a:ln>
                <a:noFill/>
              </a:ln>
              <a:solidFill>
                <a:sysClr val="windowText" lastClr="000000"/>
              </a:solidFill>
              <a:effectLst/>
              <a:uLnTx/>
              <a:uFillTx/>
              <a:latin typeface="Palatino Linotype"/>
              <a:cs typeface="Palatino Linotype"/>
            </a:endParaRPr>
          </a:p>
        </p:txBody>
      </p:sp>
      <p:pic>
        <p:nvPicPr>
          <p:cNvPr id="14" name="Picture 13" descr="A person smiling for a picture&#10;&#10;Description automatically generated">
            <a:extLst>
              <a:ext uri="{FF2B5EF4-FFF2-40B4-BE49-F238E27FC236}">
                <a16:creationId xmlns:a16="http://schemas.microsoft.com/office/drawing/2014/main" id="{468B0184-8270-9CE2-F1D3-1A2653E3D2EE}"/>
              </a:ext>
            </a:extLst>
          </p:cNvPr>
          <p:cNvPicPr>
            <a:picLocks noChangeAspect="1"/>
          </p:cNvPicPr>
          <p:nvPr/>
        </p:nvPicPr>
        <p:blipFill>
          <a:blip r:embed="rId4"/>
          <a:stretch>
            <a:fillRect/>
          </a:stretch>
        </p:blipFill>
        <p:spPr>
          <a:xfrm>
            <a:off x="8962875" y="2194534"/>
            <a:ext cx="2367213" cy="2367213"/>
          </a:xfrm>
          <a:prstGeom prst="rect">
            <a:avLst/>
          </a:prstGeom>
        </p:spPr>
      </p:pic>
      <p:sp>
        <p:nvSpPr>
          <p:cNvPr id="15" name="object 3">
            <a:extLst>
              <a:ext uri="{FF2B5EF4-FFF2-40B4-BE49-F238E27FC236}">
                <a16:creationId xmlns:a16="http://schemas.microsoft.com/office/drawing/2014/main" id="{06A1EA24-6C1A-05F4-A8AD-47FCFDCBD8D2}"/>
              </a:ext>
            </a:extLst>
          </p:cNvPr>
          <p:cNvSpPr txBox="1"/>
          <p:nvPr/>
        </p:nvSpPr>
        <p:spPr>
          <a:xfrm>
            <a:off x="8203728" y="4631485"/>
            <a:ext cx="3619694" cy="1019318"/>
          </a:xfrm>
          <a:prstGeom prst="rect">
            <a:avLst/>
          </a:prstGeom>
          <a:ln>
            <a:noFill/>
          </a:ln>
        </p:spPr>
        <p:txBody>
          <a:bodyPr vert="horz" wrap="square" lIns="0" tIns="64135" rIns="0" bIns="0" rtlCol="0">
            <a:spAutoFit/>
          </a:bodyPr>
          <a:lstStyle/>
          <a:p>
            <a:pPr marL="12700" marR="5080" lvl="0" indent="0" algn="ctr" defTabSz="914400" eaLnBrk="1" fontAlgn="auto" latinLnBrk="0" hangingPunct="1">
              <a:lnSpc>
                <a:spcPct val="109000"/>
              </a:lnSpc>
              <a:spcBef>
                <a:spcPts val="505"/>
              </a:spcBef>
              <a:spcAft>
                <a:spcPts val="0"/>
              </a:spcAft>
              <a:buClrTx/>
              <a:buSzTx/>
              <a:buFontTx/>
              <a:buNone/>
              <a:tabLst/>
              <a:defRPr/>
            </a:pPr>
            <a:r>
              <a:rPr kumimoji="0" lang="en-US" b="1" i="0" u="none" strike="noStrike" kern="0" cap="none" spc="0" normalizeH="0" baseline="0" noProof="0" dirty="0">
                <a:ln>
                  <a:noFill/>
                </a:ln>
                <a:solidFill>
                  <a:sysClr val="windowText" lastClr="000000"/>
                </a:solidFill>
                <a:effectLst/>
                <a:uLnTx/>
                <a:uFillTx/>
                <a:latin typeface="Palatino Linotype"/>
                <a:cs typeface="Palatino Linotype"/>
              </a:rPr>
              <a:t>Laura Wiegand</a:t>
            </a:r>
          </a:p>
          <a:p>
            <a:pPr marL="12700" marR="5080" lvl="0" indent="0" algn="ctr" defTabSz="914400" eaLnBrk="1" fontAlgn="auto" latinLnBrk="0" hangingPunct="1">
              <a:lnSpc>
                <a:spcPct val="109000"/>
              </a:lnSpc>
              <a:spcBef>
                <a:spcPts val="505"/>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Palatino Linotype"/>
                <a:cs typeface="Palatino Linotype"/>
              </a:rPr>
              <a:t>COO/Co-Founder</a:t>
            </a:r>
          </a:p>
          <a:p>
            <a:pPr marL="12700" marR="5080" lvl="0" indent="0" algn="ctr" defTabSz="914400" eaLnBrk="1" fontAlgn="auto" latinLnBrk="0" hangingPunct="1">
              <a:lnSpc>
                <a:spcPct val="109000"/>
              </a:lnSpc>
              <a:spcBef>
                <a:spcPts val="505"/>
              </a:spcBef>
              <a:spcAft>
                <a:spcPts val="0"/>
              </a:spcAft>
              <a:buClrTx/>
              <a:buSzTx/>
              <a:buFontTx/>
              <a:buNone/>
              <a:tabLst/>
              <a:defRPr/>
            </a:pPr>
            <a:r>
              <a:rPr lang="en-US" sz="1600" kern="0" dirty="0">
                <a:solidFill>
                  <a:sysClr val="windowText" lastClr="000000"/>
                </a:solidFill>
                <a:latin typeface="Palatino Linotype"/>
                <a:cs typeface="Palatino Linotype"/>
              </a:rPr>
              <a:t>Birth Partners, INC.</a:t>
            </a:r>
            <a:endParaRPr kumimoji="0" sz="1600" b="0" i="0" u="none" strike="noStrike" kern="0" cap="none" spc="0" normalizeH="0" baseline="0" noProof="0" dirty="0">
              <a:ln>
                <a:noFill/>
              </a:ln>
              <a:solidFill>
                <a:sysClr val="windowText" lastClr="000000"/>
              </a:solidFill>
              <a:effectLst/>
              <a:uLnTx/>
              <a:uFillTx/>
              <a:latin typeface="Palatino Linotype"/>
              <a:cs typeface="Palatino Linotype"/>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8288000" h="10287000">
                <a:moveTo>
                  <a:pt x="18287998" y="10286999"/>
                </a:moveTo>
                <a:lnTo>
                  <a:pt x="0" y="10286999"/>
                </a:lnTo>
                <a:lnTo>
                  <a:pt x="0" y="0"/>
                </a:lnTo>
                <a:lnTo>
                  <a:pt x="18287998" y="0"/>
                </a:lnTo>
                <a:lnTo>
                  <a:pt x="18287998" y="10286999"/>
                </a:lnTo>
                <a:close/>
              </a:path>
            </a:pathLst>
          </a:custGeom>
          <a:solidFill>
            <a:srgbClr val="F5F5F5"/>
          </a:solidFill>
        </p:spPr>
        <p:txBody>
          <a:bodyPr wrap="square" lIns="0" tIns="0" rIns="0" bIns="0" rtlCol="0"/>
          <a:lstStyle/>
          <a:p>
            <a:pPr defTabSz="609630"/>
            <a:endParaRPr sz="1200" kern="0">
              <a:solidFill>
                <a:sysClr val="windowText" lastClr="000000"/>
              </a:solidFill>
            </a:endParaRPr>
          </a:p>
        </p:txBody>
      </p:sp>
      <p:grpSp>
        <p:nvGrpSpPr>
          <p:cNvPr id="3" name="object 3"/>
          <p:cNvGrpSpPr/>
          <p:nvPr/>
        </p:nvGrpSpPr>
        <p:grpSpPr>
          <a:xfrm>
            <a:off x="0" y="0"/>
            <a:ext cx="11506200" cy="6486313"/>
            <a:chOff x="0" y="0"/>
            <a:chExt cx="17259300" cy="9729470"/>
          </a:xfrm>
        </p:grpSpPr>
        <p:pic>
          <p:nvPicPr>
            <p:cNvPr id="4" name="object 4"/>
            <p:cNvPicPr/>
            <p:nvPr/>
          </p:nvPicPr>
          <p:blipFill>
            <a:blip r:embed="rId2" cstate="print"/>
            <a:stretch>
              <a:fillRect/>
            </a:stretch>
          </p:blipFill>
          <p:spPr>
            <a:xfrm>
              <a:off x="0" y="0"/>
              <a:ext cx="5024214" cy="5893580"/>
            </a:xfrm>
            <a:prstGeom prst="rect">
              <a:avLst/>
            </a:prstGeom>
          </p:spPr>
        </p:pic>
        <p:sp>
          <p:nvSpPr>
            <p:cNvPr id="5" name="object 5"/>
            <p:cNvSpPr/>
            <p:nvPr/>
          </p:nvSpPr>
          <p:spPr>
            <a:xfrm>
              <a:off x="373033" y="2696823"/>
              <a:ext cx="16886555" cy="7032625"/>
            </a:xfrm>
            <a:custGeom>
              <a:avLst/>
              <a:gdLst/>
              <a:ahLst/>
              <a:cxnLst/>
              <a:rect l="l" t="t" r="r" b="b"/>
              <a:pathLst>
                <a:path w="16886555" h="7032625">
                  <a:moveTo>
                    <a:pt x="16657666" y="7032600"/>
                  </a:moveTo>
                  <a:lnTo>
                    <a:pt x="228599" y="7032600"/>
                  </a:lnTo>
                  <a:lnTo>
                    <a:pt x="182529" y="7027956"/>
                  </a:lnTo>
                  <a:lnTo>
                    <a:pt x="139618" y="7014635"/>
                  </a:lnTo>
                  <a:lnTo>
                    <a:pt x="100787" y="6993559"/>
                  </a:lnTo>
                  <a:lnTo>
                    <a:pt x="66955" y="6965645"/>
                  </a:lnTo>
                  <a:lnTo>
                    <a:pt x="39041" y="6931812"/>
                  </a:lnTo>
                  <a:lnTo>
                    <a:pt x="17964" y="6892981"/>
                  </a:lnTo>
                  <a:lnTo>
                    <a:pt x="4644" y="6850071"/>
                  </a:lnTo>
                  <a:lnTo>
                    <a:pt x="0" y="680400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16657666" y="0"/>
                  </a:lnTo>
                  <a:lnTo>
                    <a:pt x="16703737" y="4644"/>
                  </a:lnTo>
                  <a:lnTo>
                    <a:pt x="16746647" y="17964"/>
                  </a:lnTo>
                  <a:lnTo>
                    <a:pt x="16785478" y="39041"/>
                  </a:lnTo>
                  <a:lnTo>
                    <a:pt x="16819311" y="66955"/>
                  </a:lnTo>
                  <a:lnTo>
                    <a:pt x="16847225" y="100787"/>
                  </a:lnTo>
                  <a:lnTo>
                    <a:pt x="16868301" y="139618"/>
                  </a:lnTo>
                  <a:lnTo>
                    <a:pt x="16881622" y="182529"/>
                  </a:lnTo>
                  <a:lnTo>
                    <a:pt x="16886266" y="228599"/>
                  </a:lnTo>
                  <a:lnTo>
                    <a:pt x="16886266" y="6804000"/>
                  </a:lnTo>
                  <a:lnTo>
                    <a:pt x="16881622" y="6850071"/>
                  </a:lnTo>
                  <a:lnTo>
                    <a:pt x="16868301" y="6892981"/>
                  </a:lnTo>
                  <a:lnTo>
                    <a:pt x="16847225" y="6931812"/>
                  </a:lnTo>
                  <a:lnTo>
                    <a:pt x="16819311" y="6965645"/>
                  </a:lnTo>
                  <a:lnTo>
                    <a:pt x="16785478" y="6993559"/>
                  </a:lnTo>
                  <a:lnTo>
                    <a:pt x="16746647" y="7014635"/>
                  </a:lnTo>
                  <a:lnTo>
                    <a:pt x="16703737" y="7027956"/>
                  </a:lnTo>
                  <a:lnTo>
                    <a:pt x="16657666" y="7032600"/>
                  </a:lnTo>
                  <a:close/>
                </a:path>
              </a:pathLst>
            </a:custGeom>
            <a:solidFill>
              <a:srgbClr val="45482F"/>
            </a:solidFill>
          </p:spPr>
          <p:txBody>
            <a:bodyPr wrap="square" lIns="0" tIns="0" rIns="0" bIns="0" rtlCol="0"/>
            <a:lstStyle/>
            <a:p>
              <a:pPr defTabSz="609630"/>
              <a:endParaRPr sz="1200" kern="0">
                <a:solidFill>
                  <a:sysClr val="windowText" lastClr="000000"/>
                </a:solidFill>
              </a:endParaRPr>
            </a:p>
          </p:txBody>
        </p:sp>
        <p:pic>
          <p:nvPicPr>
            <p:cNvPr id="6" name="object 6"/>
            <p:cNvPicPr/>
            <p:nvPr/>
          </p:nvPicPr>
          <p:blipFill>
            <a:blip r:embed="rId3" cstate="print"/>
            <a:stretch>
              <a:fillRect/>
            </a:stretch>
          </p:blipFill>
          <p:spPr>
            <a:xfrm>
              <a:off x="1106753" y="4260571"/>
              <a:ext cx="133531" cy="133531"/>
            </a:xfrm>
            <a:prstGeom prst="rect">
              <a:avLst/>
            </a:prstGeom>
          </p:spPr>
        </p:pic>
        <p:pic>
          <p:nvPicPr>
            <p:cNvPr id="7" name="object 7"/>
            <p:cNvPicPr/>
            <p:nvPr/>
          </p:nvPicPr>
          <p:blipFill>
            <a:blip r:embed="rId4" cstate="print"/>
            <a:stretch>
              <a:fillRect/>
            </a:stretch>
          </p:blipFill>
          <p:spPr>
            <a:xfrm>
              <a:off x="1106753" y="4821403"/>
              <a:ext cx="133531" cy="133531"/>
            </a:xfrm>
            <a:prstGeom prst="rect">
              <a:avLst/>
            </a:prstGeom>
          </p:spPr>
        </p:pic>
        <p:pic>
          <p:nvPicPr>
            <p:cNvPr id="8" name="object 8"/>
            <p:cNvPicPr/>
            <p:nvPr/>
          </p:nvPicPr>
          <p:blipFill>
            <a:blip r:embed="rId4" cstate="print"/>
            <a:stretch>
              <a:fillRect/>
            </a:stretch>
          </p:blipFill>
          <p:spPr>
            <a:xfrm>
              <a:off x="1106753" y="5382235"/>
              <a:ext cx="133531" cy="133531"/>
            </a:xfrm>
            <a:prstGeom prst="rect">
              <a:avLst/>
            </a:prstGeom>
          </p:spPr>
        </p:pic>
        <p:pic>
          <p:nvPicPr>
            <p:cNvPr id="9" name="object 9"/>
            <p:cNvPicPr/>
            <p:nvPr/>
          </p:nvPicPr>
          <p:blipFill>
            <a:blip r:embed="rId4" cstate="print"/>
            <a:stretch>
              <a:fillRect/>
            </a:stretch>
          </p:blipFill>
          <p:spPr>
            <a:xfrm>
              <a:off x="1106753" y="5943066"/>
              <a:ext cx="133531" cy="133531"/>
            </a:xfrm>
            <a:prstGeom prst="rect">
              <a:avLst/>
            </a:prstGeom>
          </p:spPr>
        </p:pic>
        <p:pic>
          <p:nvPicPr>
            <p:cNvPr id="10" name="object 10"/>
            <p:cNvPicPr/>
            <p:nvPr/>
          </p:nvPicPr>
          <p:blipFill>
            <a:blip r:embed="rId4" cstate="print"/>
            <a:stretch>
              <a:fillRect/>
            </a:stretch>
          </p:blipFill>
          <p:spPr>
            <a:xfrm>
              <a:off x="1106753" y="6503898"/>
              <a:ext cx="133531" cy="133531"/>
            </a:xfrm>
            <a:prstGeom prst="rect">
              <a:avLst/>
            </a:prstGeom>
          </p:spPr>
        </p:pic>
        <p:pic>
          <p:nvPicPr>
            <p:cNvPr id="11" name="object 11"/>
            <p:cNvPicPr/>
            <p:nvPr/>
          </p:nvPicPr>
          <p:blipFill>
            <a:blip r:embed="rId5" cstate="print"/>
            <a:stretch>
              <a:fillRect/>
            </a:stretch>
          </p:blipFill>
          <p:spPr>
            <a:xfrm>
              <a:off x="1106753" y="7064730"/>
              <a:ext cx="133531" cy="133531"/>
            </a:xfrm>
            <a:prstGeom prst="rect">
              <a:avLst/>
            </a:prstGeom>
          </p:spPr>
        </p:pic>
        <p:pic>
          <p:nvPicPr>
            <p:cNvPr id="12" name="object 12"/>
            <p:cNvPicPr/>
            <p:nvPr/>
          </p:nvPicPr>
          <p:blipFill>
            <a:blip r:embed="rId4" cstate="print"/>
            <a:stretch>
              <a:fillRect/>
            </a:stretch>
          </p:blipFill>
          <p:spPr>
            <a:xfrm>
              <a:off x="1106753" y="7625561"/>
              <a:ext cx="133531" cy="133530"/>
            </a:xfrm>
            <a:prstGeom prst="rect">
              <a:avLst/>
            </a:prstGeom>
          </p:spPr>
        </p:pic>
        <p:pic>
          <p:nvPicPr>
            <p:cNvPr id="13" name="object 13"/>
            <p:cNvPicPr/>
            <p:nvPr/>
          </p:nvPicPr>
          <p:blipFill>
            <a:blip r:embed="rId6" cstate="print"/>
            <a:stretch>
              <a:fillRect/>
            </a:stretch>
          </p:blipFill>
          <p:spPr>
            <a:xfrm>
              <a:off x="1106753" y="8186392"/>
              <a:ext cx="133531" cy="133531"/>
            </a:xfrm>
            <a:prstGeom prst="rect">
              <a:avLst/>
            </a:prstGeom>
          </p:spPr>
        </p:pic>
      </p:grpSp>
      <p:graphicFrame>
        <p:nvGraphicFramePr>
          <p:cNvPr id="14" name="object 14"/>
          <p:cNvGraphicFramePr>
            <a:graphicFrameLocks noGrp="1"/>
          </p:cNvGraphicFramePr>
          <p:nvPr/>
        </p:nvGraphicFramePr>
        <p:xfrm>
          <a:off x="936625" y="2711356"/>
          <a:ext cx="10033423" cy="2938780"/>
        </p:xfrm>
        <a:graphic>
          <a:graphicData uri="http://schemas.openxmlformats.org/drawingml/2006/table">
            <a:tbl>
              <a:tblPr firstRow="1" bandRow="1">
                <a:tableStyleId>{2D5ABB26-0587-4C30-8999-92F81FD0307C}</a:tableStyleId>
              </a:tblPr>
              <a:tblGrid>
                <a:gridCol w="3023870">
                  <a:extLst>
                    <a:ext uri="{9D8B030D-6E8A-4147-A177-3AD203B41FA5}">
                      <a16:colId xmlns:a16="http://schemas.microsoft.com/office/drawing/2014/main" val="20000"/>
                    </a:ext>
                  </a:extLst>
                </a:gridCol>
                <a:gridCol w="2275840">
                  <a:extLst>
                    <a:ext uri="{9D8B030D-6E8A-4147-A177-3AD203B41FA5}">
                      <a16:colId xmlns:a16="http://schemas.microsoft.com/office/drawing/2014/main" val="20001"/>
                    </a:ext>
                  </a:extLst>
                </a:gridCol>
                <a:gridCol w="2936663">
                  <a:extLst>
                    <a:ext uri="{9D8B030D-6E8A-4147-A177-3AD203B41FA5}">
                      <a16:colId xmlns:a16="http://schemas.microsoft.com/office/drawing/2014/main" val="20002"/>
                    </a:ext>
                  </a:extLst>
                </a:gridCol>
                <a:gridCol w="1746673">
                  <a:extLst>
                    <a:ext uri="{9D8B030D-6E8A-4147-A177-3AD203B41FA5}">
                      <a16:colId xmlns:a16="http://schemas.microsoft.com/office/drawing/2014/main" val="20003"/>
                    </a:ext>
                  </a:extLst>
                </a:gridCol>
              </a:tblGrid>
              <a:tr h="347980">
                <a:tc>
                  <a:txBody>
                    <a:bodyPr/>
                    <a:lstStyle/>
                    <a:p>
                      <a:pPr marL="31750">
                        <a:lnSpc>
                          <a:spcPts val="3765"/>
                        </a:lnSpc>
                      </a:pPr>
                      <a:r>
                        <a:rPr sz="2100" dirty="0">
                          <a:solidFill>
                            <a:srgbClr val="F5F5F5"/>
                          </a:solidFill>
                          <a:latin typeface="Tahoma"/>
                          <a:cs typeface="Tahoma"/>
                        </a:rPr>
                        <a:t>South</a:t>
                      </a:r>
                      <a:r>
                        <a:rPr sz="2100" spc="-60" dirty="0">
                          <a:solidFill>
                            <a:srgbClr val="F5F5F5"/>
                          </a:solidFill>
                          <a:latin typeface="Tahoma"/>
                          <a:cs typeface="Tahoma"/>
                        </a:rPr>
                        <a:t> </a:t>
                      </a:r>
                      <a:r>
                        <a:rPr sz="2100" spc="-10" dirty="0">
                          <a:solidFill>
                            <a:srgbClr val="F5F5F5"/>
                          </a:solidFill>
                          <a:latin typeface="Tahoma"/>
                          <a:cs typeface="Tahoma"/>
                        </a:rPr>
                        <a:t>Shore</a:t>
                      </a:r>
                      <a:endParaRPr sz="2100">
                        <a:latin typeface="Tahoma"/>
                        <a:cs typeface="Tahoma"/>
                      </a:endParaRPr>
                    </a:p>
                  </a:txBody>
                  <a:tcPr marL="0" marR="0" marT="0" marB="0"/>
                </a:tc>
                <a:tc>
                  <a:txBody>
                    <a:bodyPr/>
                    <a:lstStyle/>
                    <a:p>
                      <a:pPr marR="1731010" algn="r">
                        <a:lnSpc>
                          <a:spcPts val="3765"/>
                        </a:lnSpc>
                      </a:pPr>
                      <a:r>
                        <a:rPr sz="2100" spc="-20" dirty="0">
                          <a:solidFill>
                            <a:srgbClr val="F5F5F5"/>
                          </a:solidFill>
                          <a:latin typeface="Tahoma"/>
                          <a:cs typeface="Tahoma"/>
                        </a:rPr>
                        <a:t>14.0</a:t>
                      </a:r>
                      <a:endParaRPr sz="2100">
                        <a:latin typeface="Tahoma"/>
                        <a:cs typeface="Tahoma"/>
                      </a:endParaRPr>
                    </a:p>
                  </a:txBody>
                  <a:tcPr marL="0" marR="0" marT="0" marB="0"/>
                </a:tc>
                <a:tc>
                  <a:txBody>
                    <a:bodyPr/>
                    <a:lstStyle/>
                    <a:p>
                      <a:pPr marR="12065" algn="ctr">
                        <a:lnSpc>
                          <a:spcPts val="3765"/>
                        </a:lnSpc>
                      </a:pPr>
                      <a:r>
                        <a:rPr sz="2100" spc="50" dirty="0">
                          <a:solidFill>
                            <a:srgbClr val="F5F5F5"/>
                          </a:solidFill>
                          <a:latin typeface="Tahoma"/>
                          <a:cs typeface="Tahoma"/>
                        </a:rPr>
                        <a:t>95th</a:t>
                      </a:r>
                      <a:endParaRPr sz="2100">
                        <a:latin typeface="Tahoma"/>
                        <a:cs typeface="Tahoma"/>
                      </a:endParaRPr>
                    </a:p>
                  </a:txBody>
                  <a:tcPr marL="0" marR="0" marT="0" marB="0"/>
                </a:tc>
                <a:tc>
                  <a:txBody>
                    <a:bodyPr/>
                    <a:lstStyle/>
                    <a:p>
                      <a:pPr marR="186055" algn="r">
                        <a:lnSpc>
                          <a:spcPts val="3765"/>
                        </a:lnSpc>
                      </a:pPr>
                      <a:r>
                        <a:rPr sz="2100" spc="35" dirty="0">
                          <a:solidFill>
                            <a:srgbClr val="F5F5F5"/>
                          </a:solidFill>
                          <a:latin typeface="Tahoma"/>
                          <a:cs typeface="Tahoma"/>
                        </a:rPr>
                        <a:t>5th</a:t>
                      </a:r>
                      <a:endParaRPr sz="2100">
                        <a:latin typeface="Tahoma"/>
                        <a:cs typeface="Tahoma"/>
                      </a:endParaRPr>
                    </a:p>
                  </a:txBody>
                  <a:tcPr marL="0" marR="0" marT="0" marB="0"/>
                </a:tc>
                <a:extLst>
                  <a:ext uri="{0D108BD9-81ED-4DB2-BD59-A6C34878D82A}">
                    <a16:rowId xmlns:a16="http://schemas.microsoft.com/office/drawing/2014/main" val="10000"/>
                  </a:ext>
                </a:extLst>
              </a:tr>
              <a:tr h="373803">
                <a:tc>
                  <a:txBody>
                    <a:bodyPr/>
                    <a:lstStyle/>
                    <a:p>
                      <a:pPr marL="31750">
                        <a:lnSpc>
                          <a:spcPct val="100000"/>
                        </a:lnSpc>
                        <a:spcBef>
                          <a:spcPts val="285"/>
                        </a:spcBef>
                      </a:pPr>
                      <a:r>
                        <a:rPr sz="2100" spc="-10" dirty="0">
                          <a:solidFill>
                            <a:srgbClr val="F5F5F5"/>
                          </a:solidFill>
                          <a:latin typeface="Tahoma"/>
                          <a:cs typeface="Tahoma"/>
                        </a:rPr>
                        <a:t>Hegewisch</a:t>
                      </a:r>
                      <a:endParaRPr sz="2100">
                        <a:latin typeface="Tahoma"/>
                        <a:cs typeface="Tahoma"/>
                      </a:endParaRPr>
                    </a:p>
                  </a:txBody>
                  <a:tcPr marL="0" marR="0" marT="24130" marB="0"/>
                </a:tc>
                <a:tc>
                  <a:txBody>
                    <a:bodyPr/>
                    <a:lstStyle/>
                    <a:p>
                      <a:pPr marL="958215">
                        <a:lnSpc>
                          <a:spcPct val="100000"/>
                        </a:lnSpc>
                        <a:spcBef>
                          <a:spcPts val="285"/>
                        </a:spcBef>
                      </a:pPr>
                      <a:r>
                        <a:rPr sz="2100" spc="-25" dirty="0">
                          <a:solidFill>
                            <a:srgbClr val="F5F5F5"/>
                          </a:solidFill>
                          <a:latin typeface="Tahoma"/>
                          <a:cs typeface="Tahoma"/>
                        </a:rPr>
                        <a:t>6.0</a:t>
                      </a:r>
                      <a:endParaRPr sz="2100">
                        <a:latin typeface="Tahoma"/>
                        <a:cs typeface="Tahoma"/>
                      </a:endParaRPr>
                    </a:p>
                  </a:txBody>
                  <a:tcPr marL="0" marR="0" marT="24130" marB="0"/>
                </a:tc>
                <a:tc>
                  <a:txBody>
                    <a:bodyPr/>
                    <a:lstStyle/>
                    <a:p>
                      <a:pPr marL="37465" algn="ctr">
                        <a:lnSpc>
                          <a:spcPct val="100000"/>
                        </a:lnSpc>
                        <a:spcBef>
                          <a:spcPts val="285"/>
                        </a:spcBef>
                      </a:pPr>
                      <a:r>
                        <a:rPr sz="2100" spc="40" dirty="0">
                          <a:solidFill>
                            <a:srgbClr val="F5F5F5"/>
                          </a:solidFill>
                          <a:latin typeface="Tahoma"/>
                          <a:cs typeface="Tahoma"/>
                        </a:rPr>
                        <a:t>51st</a:t>
                      </a:r>
                      <a:endParaRPr sz="2100">
                        <a:latin typeface="Tahoma"/>
                        <a:cs typeface="Tahoma"/>
                      </a:endParaRPr>
                    </a:p>
                  </a:txBody>
                  <a:tcPr marL="0" marR="0" marT="24130" marB="0"/>
                </a:tc>
                <a:tc>
                  <a:txBody>
                    <a:bodyPr/>
                    <a:lstStyle/>
                    <a:p>
                      <a:pPr marR="51435" algn="r">
                        <a:lnSpc>
                          <a:spcPct val="100000"/>
                        </a:lnSpc>
                        <a:spcBef>
                          <a:spcPts val="285"/>
                        </a:spcBef>
                      </a:pPr>
                      <a:r>
                        <a:rPr sz="2100" spc="50" dirty="0">
                          <a:solidFill>
                            <a:srgbClr val="F5F5F5"/>
                          </a:solidFill>
                          <a:latin typeface="Tahoma"/>
                          <a:cs typeface="Tahoma"/>
                        </a:rPr>
                        <a:t>39th</a:t>
                      </a:r>
                      <a:endParaRPr sz="2100">
                        <a:latin typeface="Tahoma"/>
                        <a:cs typeface="Tahoma"/>
                      </a:endParaRPr>
                    </a:p>
                  </a:txBody>
                  <a:tcPr marL="0" marR="0" marT="24130" marB="0"/>
                </a:tc>
                <a:extLst>
                  <a:ext uri="{0D108BD9-81ED-4DB2-BD59-A6C34878D82A}">
                    <a16:rowId xmlns:a16="http://schemas.microsoft.com/office/drawing/2014/main" val="10001"/>
                  </a:ext>
                </a:extLst>
              </a:tr>
              <a:tr h="373803">
                <a:tc>
                  <a:txBody>
                    <a:bodyPr/>
                    <a:lstStyle/>
                    <a:p>
                      <a:pPr marL="31750">
                        <a:lnSpc>
                          <a:spcPct val="100000"/>
                        </a:lnSpc>
                        <a:spcBef>
                          <a:spcPts val="285"/>
                        </a:spcBef>
                      </a:pPr>
                      <a:r>
                        <a:rPr sz="2100" dirty="0">
                          <a:solidFill>
                            <a:srgbClr val="F5F5F5"/>
                          </a:solidFill>
                          <a:latin typeface="Tahoma"/>
                          <a:cs typeface="Tahoma"/>
                        </a:rPr>
                        <a:t>East</a:t>
                      </a:r>
                      <a:r>
                        <a:rPr sz="2100" spc="-150" dirty="0">
                          <a:solidFill>
                            <a:srgbClr val="F5F5F5"/>
                          </a:solidFill>
                          <a:latin typeface="Tahoma"/>
                          <a:cs typeface="Tahoma"/>
                        </a:rPr>
                        <a:t> </a:t>
                      </a:r>
                      <a:r>
                        <a:rPr sz="2100" spc="-20" dirty="0">
                          <a:solidFill>
                            <a:srgbClr val="F5F5F5"/>
                          </a:solidFill>
                          <a:latin typeface="Tahoma"/>
                          <a:cs typeface="Tahoma"/>
                        </a:rPr>
                        <a:t>Side</a:t>
                      </a:r>
                      <a:endParaRPr sz="2100">
                        <a:latin typeface="Tahoma"/>
                        <a:cs typeface="Tahoma"/>
                      </a:endParaRPr>
                    </a:p>
                  </a:txBody>
                  <a:tcPr marL="0" marR="0" marT="24130" marB="0"/>
                </a:tc>
                <a:tc>
                  <a:txBody>
                    <a:bodyPr/>
                    <a:lstStyle/>
                    <a:p>
                      <a:pPr marL="1032510">
                        <a:lnSpc>
                          <a:spcPct val="100000"/>
                        </a:lnSpc>
                        <a:spcBef>
                          <a:spcPts val="285"/>
                        </a:spcBef>
                      </a:pPr>
                      <a:r>
                        <a:rPr sz="2100" spc="-25" dirty="0">
                          <a:solidFill>
                            <a:srgbClr val="F5F5F5"/>
                          </a:solidFill>
                          <a:latin typeface="Tahoma"/>
                          <a:cs typeface="Tahoma"/>
                        </a:rPr>
                        <a:t>2.7</a:t>
                      </a:r>
                      <a:endParaRPr sz="2100">
                        <a:latin typeface="Tahoma"/>
                        <a:cs typeface="Tahoma"/>
                      </a:endParaRPr>
                    </a:p>
                  </a:txBody>
                  <a:tcPr marL="0" marR="0" marT="24130" marB="0"/>
                </a:tc>
                <a:tc>
                  <a:txBody>
                    <a:bodyPr/>
                    <a:lstStyle/>
                    <a:p>
                      <a:pPr marL="29209" algn="ctr">
                        <a:lnSpc>
                          <a:spcPct val="100000"/>
                        </a:lnSpc>
                        <a:spcBef>
                          <a:spcPts val="285"/>
                        </a:spcBef>
                      </a:pPr>
                      <a:r>
                        <a:rPr sz="2100" spc="50" dirty="0">
                          <a:solidFill>
                            <a:srgbClr val="F5F5F5"/>
                          </a:solidFill>
                          <a:latin typeface="Tahoma"/>
                          <a:cs typeface="Tahoma"/>
                        </a:rPr>
                        <a:t>14th</a:t>
                      </a:r>
                      <a:endParaRPr sz="2100">
                        <a:latin typeface="Tahoma"/>
                        <a:cs typeface="Tahoma"/>
                      </a:endParaRPr>
                    </a:p>
                  </a:txBody>
                  <a:tcPr marL="0" marR="0" marT="24130" marB="0"/>
                </a:tc>
                <a:tc>
                  <a:txBody>
                    <a:bodyPr/>
                    <a:lstStyle/>
                    <a:p>
                      <a:pPr marR="30480" algn="r">
                        <a:lnSpc>
                          <a:spcPct val="100000"/>
                        </a:lnSpc>
                        <a:spcBef>
                          <a:spcPts val="285"/>
                        </a:spcBef>
                      </a:pPr>
                      <a:r>
                        <a:rPr sz="2100" spc="50" dirty="0">
                          <a:solidFill>
                            <a:srgbClr val="F5F5F5"/>
                          </a:solidFill>
                          <a:latin typeface="Tahoma"/>
                          <a:cs typeface="Tahoma"/>
                        </a:rPr>
                        <a:t>67th</a:t>
                      </a:r>
                      <a:endParaRPr sz="2100">
                        <a:latin typeface="Tahoma"/>
                        <a:cs typeface="Tahoma"/>
                      </a:endParaRPr>
                    </a:p>
                  </a:txBody>
                  <a:tcPr marL="0" marR="0" marT="24130" marB="0"/>
                </a:tc>
                <a:extLst>
                  <a:ext uri="{0D108BD9-81ED-4DB2-BD59-A6C34878D82A}">
                    <a16:rowId xmlns:a16="http://schemas.microsoft.com/office/drawing/2014/main" val="10002"/>
                  </a:ext>
                </a:extLst>
              </a:tr>
              <a:tr h="373803">
                <a:tc>
                  <a:txBody>
                    <a:bodyPr/>
                    <a:lstStyle/>
                    <a:p>
                      <a:pPr marL="31750">
                        <a:lnSpc>
                          <a:spcPct val="100000"/>
                        </a:lnSpc>
                        <a:spcBef>
                          <a:spcPts val="285"/>
                        </a:spcBef>
                      </a:pPr>
                      <a:r>
                        <a:rPr sz="2100" dirty="0">
                          <a:solidFill>
                            <a:srgbClr val="F5F5F5"/>
                          </a:solidFill>
                          <a:latin typeface="Tahoma"/>
                          <a:cs typeface="Tahoma"/>
                        </a:rPr>
                        <a:t>South</a:t>
                      </a:r>
                      <a:r>
                        <a:rPr sz="2100" spc="-60" dirty="0">
                          <a:solidFill>
                            <a:srgbClr val="F5F5F5"/>
                          </a:solidFill>
                          <a:latin typeface="Tahoma"/>
                          <a:cs typeface="Tahoma"/>
                        </a:rPr>
                        <a:t> </a:t>
                      </a:r>
                      <a:r>
                        <a:rPr sz="2100" spc="-10" dirty="0">
                          <a:solidFill>
                            <a:srgbClr val="F5F5F5"/>
                          </a:solidFill>
                          <a:latin typeface="Tahoma"/>
                          <a:cs typeface="Tahoma"/>
                        </a:rPr>
                        <a:t>Deering</a:t>
                      </a:r>
                      <a:endParaRPr sz="2100">
                        <a:latin typeface="Tahoma"/>
                        <a:cs typeface="Tahoma"/>
                      </a:endParaRPr>
                    </a:p>
                  </a:txBody>
                  <a:tcPr marL="0" marR="0" marT="24130" marB="0"/>
                </a:tc>
                <a:tc>
                  <a:txBody>
                    <a:bodyPr/>
                    <a:lstStyle/>
                    <a:p>
                      <a:pPr marL="739140">
                        <a:lnSpc>
                          <a:spcPct val="100000"/>
                        </a:lnSpc>
                        <a:spcBef>
                          <a:spcPts val="285"/>
                        </a:spcBef>
                      </a:pPr>
                      <a:r>
                        <a:rPr sz="2100" spc="-20" dirty="0">
                          <a:solidFill>
                            <a:srgbClr val="F5F5F5"/>
                          </a:solidFill>
                          <a:latin typeface="Tahoma"/>
                          <a:cs typeface="Tahoma"/>
                        </a:rPr>
                        <a:t>12.9</a:t>
                      </a:r>
                      <a:endParaRPr sz="2100">
                        <a:latin typeface="Tahoma"/>
                        <a:cs typeface="Tahoma"/>
                      </a:endParaRPr>
                    </a:p>
                  </a:txBody>
                  <a:tcPr marL="0" marR="0" marT="24130" marB="0"/>
                </a:tc>
                <a:tc>
                  <a:txBody>
                    <a:bodyPr/>
                    <a:lstStyle/>
                    <a:p>
                      <a:pPr algn="ctr">
                        <a:lnSpc>
                          <a:spcPct val="100000"/>
                        </a:lnSpc>
                        <a:spcBef>
                          <a:spcPts val="285"/>
                        </a:spcBef>
                      </a:pPr>
                      <a:r>
                        <a:rPr sz="2100" spc="35" dirty="0">
                          <a:solidFill>
                            <a:srgbClr val="F5F5F5"/>
                          </a:solidFill>
                          <a:latin typeface="Tahoma"/>
                          <a:cs typeface="Tahoma"/>
                        </a:rPr>
                        <a:t>92nd</a:t>
                      </a:r>
                      <a:endParaRPr sz="2100">
                        <a:latin typeface="Tahoma"/>
                        <a:cs typeface="Tahoma"/>
                      </a:endParaRPr>
                    </a:p>
                  </a:txBody>
                  <a:tcPr marL="0" marR="0" marT="24130" marB="0"/>
                </a:tc>
                <a:tc>
                  <a:txBody>
                    <a:bodyPr/>
                    <a:lstStyle/>
                    <a:p>
                      <a:pPr marR="139065" algn="r">
                        <a:lnSpc>
                          <a:spcPct val="100000"/>
                        </a:lnSpc>
                        <a:spcBef>
                          <a:spcPts val="285"/>
                        </a:spcBef>
                      </a:pPr>
                      <a:r>
                        <a:rPr sz="2100" spc="35" dirty="0">
                          <a:solidFill>
                            <a:srgbClr val="F5F5F5"/>
                          </a:solidFill>
                          <a:latin typeface="Tahoma"/>
                          <a:cs typeface="Tahoma"/>
                        </a:rPr>
                        <a:t>7th</a:t>
                      </a:r>
                      <a:endParaRPr sz="2100">
                        <a:latin typeface="Tahoma"/>
                        <a:cs typeface="Tahoma"/>
                      </a:endParaRPr>
                    </a:p>
                  </a:txBody>
                  <a:tcPr marL="0" marR="0" marT="24130" marB="0"/>
                </a:tc>
                <a:extLst>
                  <a:ext uri="{0D108BD9-81ED-4DB2-BD59-A6C34878D82A}">
                    <a16:rowId xmlns:a16="http://schemas.microsoft.com/office/drawing/2014/main" val="10003"/>
                  </a:ext>
                </a:extLst>
              </a:tr>
              <a:tr h="373803">
                <a:tc>
                  <a:txBody>
                    <a:bodyPr/>
                    <a:lstStyle/>
                    <a:p>
                      <a:pPr marL="31750">
                        <a:lnSpc>
                          <a:spcPct val="100000"/>
                        </a:lnSpc>
                        <a:spcBef>
                          <a:spcPts val="285"/>
                        </a:spcBef>
                      </a:pPr>
                      <a:r>
                        <a:rPr sz="2100" dirty="0">
                          <a:solidFill>
                            <a:srgbClr val="F5F5F5"/>
                          </a:solidFill>
                          <a:latin typeface="Tahoma"/>
                          <a:cs typeface="Tahoma"/>
                        </a:rPr>
                        <a:t>Altgeld</a:t>
                      </a:r>
                      <a:r>
                        <a:rPr sz="2100" spc="130" dirty="0">
                          <a:solidFill>
                            <a:srgbClr val="F5F5F5"/>
                          </a:solidFill>
                          <a:latin typeface="Tahoma"/>
                          <a:cs typeface="Tahoma"/>
                        </a:rPr>
                        <a:t> </a:t>
                      </a:r>
                      <a:r>
                        <a:rPr sz="2100" spc="-10" dirty="0">
                          <a:solidFill>
                            <a:srgbClr val="F5F5F5"/>
                          </a:solidFill>
                          <a:latin typeface="Tahoma"/>
                          <a:cs typeface="Tahoma"/>
                        </a:rPr>
                        <a:t>Gardens</a:t>
                      </a:r>
                      <a:endParaRPr sz="2100">
                        <a:latin typeface="Tahoma"/>
                        <a:cs typeface="Tahoma"/>
                      </a:endParaRPr>
                    </a:p>
                  </a:txBody>
                  <a:tcPr marL="0" marR="0" marT="24130" marB="0"/>
                </a:tc>
                <a:tc>
                  <a:txBody>
                    <a:bodyPr/>
                    <a:lstStyle/>
                    <a:p>
                      <a:pPr marL="1022985">
                        <a:lnSpc>
                          <a:spcPct val="100000"/>
                        </a:lnSpc>
                        <a:spcBef>
                          <a:spcPts val="285"/>
                        </a:spcBef>
                      </a:pPr>
                      <a:r>
                        <a:rPr sz="2100" spc="75" dirty="0">
                          <a:solidFill>
                            <a:srgbClr val="F5F5F5"/>
                          </a:solidFill>
                          <a:latin typeface="Tahoma"/>
                          <a:cs typeface="Tahoma"/>
                        </a:rPr>
                        <a:t>13</a:t>
                      </a:r>
                      <a:endParaRPr sz="2100">
                        <a:latin typeface="Tahoma"/>
                        <a:cs typeface="Tahoma"/>
                      </a:endParaRPr>
                    </a:p>
                  </a:txBody>
                  <a:tcPr marL="0" marR="0" marT="24130" marB="0"/>
                </a:tc>
                <a:tc>
                  <a:txBody>
                    <a:bodyPr/>
                    <a:lstStyle/>
                    <a:p>
                      <a:pPr>
                        <a:lnSpc>
                          <a:spcPct val="100000"/>
                        </a:lnSpc>
                      </a:pPr>
                      <a:endParaRPr sz="1700">
                        <a:latin typeface="Times New Roman"/>
                        <a:cs typeface="Times New Roman"/>
                      </a:endParaRPr>
                    </a:p>
                  </a:txBody>
                  <a:tcPr marL="0" marR="0" marT="0" marB="0"/>
                </a:tc>
                <a:tc>
                  <a:txBody>
                    <a:bodyPr/>
                    <a:lstStyle/>
                    <a:p>
                      <a:pPr>
                        <a:lnSpc>
                          <a:spcPct val="100000"/>
                        </a:lnSpc>
                      </a:pPr>
                      <a:endParaRPr sz="1700">
                        <a:latin typeface="Times New Roman"/>
                        <a:cs typeface="Times New Roman"/>
                      </a:endParaRPr>
                    </a:p>
                  </a:txBody>
                  <a:tcPr marL="0" marR="0" marT="0" marB="0"/>
                </a:tc>
                <a:extLst>
                  <a:ext uri="{0D108BD9-81ED-4DB2-BD59-A6C34878D82A}">
                    <a16:rowId xmlns:a16="http://schemas.microsoft.com/office/drawing/2014/main" val="10004"/>
                  </a:ext>
                </a:extLst>
              </a:tr>
              <a:tr h="373803">
                <a:tc>
                  <a:txBody>
                    <a:bodyPr/>
                    <a:lstStyle/>
                    <a:p>
                      <a:pPr marL="31750">
                        <a:lnSpc>
                          <a:spcPct val="100000"/>
                        </a:lnSpc>
                        <a:spcBef>
                          <a:spcPts val="285"/>
                        </a:spcBef>
                      </a:pPr>
                      <a:r>
                        <a:rPr sz="2100" spc="-10" dirty="0">
                          <a:solidFill>
                            <a:srgbClr val="F5F5F5"/>
                          </a:solidFill>
                          <a:latin typeface="Tahoma"/>
                          <a:cs typeface="Tahoma"/>
                        </a:rPr>
                        <a:t>Riverdale</a:t>
                      </a:r>
                      <a:endParaRPr sz="2100">
                        <a:latin typeface="Tahoma"/>
                        <a:cs typeface="Tahoma"/>
                      </a:endParaRPr>
                    </a:p>
                  </a:txBody>
                  <a:tcPr marL="0" marR="0" marT="24130" marB="0"/>
                </a:tc>
                <a:tc>
                  <a:txBody>
                    <a:bodyPr/>
                    <a:lstStyle/>
                    <a:p>
                      <a:pPr marR="1740535" algn="r">
                        <a:lnSpc>
                          <a:spcPct val="100000"/>
                        </a:lnSpc>
                        <a:spcBef>
                          <a:spcPts val="285"/>
                        </a:spcBef>
                      </a:pPr>
                      <a:r>
                        <a:rPr sz="2100" spc="-20" dirty="0">
                          <a:solidFill>
                            <a:srgbClr val="F5F5F5"/>
                          </a:solidFill>
                          <a:latin typeface="Tahoma"/>
                          <a:cs typeface="Tahoma"/>
                        </a:rPr>
                        <a:t>10.1</a:t>
                      </a:r>
                      <a:endParaRPr sz="2100">
                        <a:latin typeface="Tahoma"/>
                        <a:cs typeface="Tahoma"/>
                      </a:endParaRPr>
                    </a:p>
                  </a:txBody>
                  <a:tcPr marL="0" marR="0" marT="24130" marB="0"/>
                </a:tc>
                <a:tc>
                  <a:txBody>
                    <a:bodyPr/>
                    <a:lstStyle/>
                    <a:p>
                      <a:pPr marR="27940" algn="ctr">
                        <a:lnSpc>
                          <a:spcPct val="100000"/>
                        </a:lnSpc>
                        <a:spcBef>
                          <a:spcPts val="285"/>
                        </a:spcBef>
                      </a:pPr>
                      <a:r>
                        <a:rPr sz="2100" spc="40" dirty="0">
                          <a:solidFill>
                            <a:srgbClr val="F5F5F5"/>
                          </a:solidFill>
                          <a:latin typeface="Tahoma"/>
                          <a:cs typeface="Tahoma"/>
                        </a:rPr>
                        <a:t>83rd</a:t>
                      </a:r>
                      <a:endParaRPr sz="2100">
                        <a:latin typeface="Tahoma"/>
                        <a:cs typeface="Tahoma"/>
                      </a:endParaRPr>
                    </a:p>
                  </a:txBody>
                  <a:tcPr marL="0" marR="0" marT="24130" marB="0"/>
                </a:tc>
                <a:tc>
                  <a:txBody>
                    <a:bodyPr/>
                    <a:lstStyle/>
                    <a:p>
                      <a:pPr marR="61594" algn="r">
                        <a:lnSpc>
                          <a:spcPct val="100000"/>
                        </a:lnSpc>
                        <a:spcBef>
                          <a:spcPts val="285"/>
                        </a:spcBef>
                      </a:pPr>
                      <a:r>
                        <a:rPr sz="2100" spc="50" dirty="0">
                          <a:solidFill>
                            <a:srgbClr val="F5F5F5"/>
                          </a:solidFill>
                          <a:latin typeface="Tahoma"/>
                          <a:cs typeface="Tahoma"/>
                        </a:rPr>
                        <a:t>14th</a:t>
                      </a:r>
                      <a:endParaRPr sz="2100">
                        <a:latin typeface="Tahoma"/>
                        <a:cs typeface="Tahoma"/>
                      </a:endParaRPr>
                    </a:p>
                  </a:txBody>
                  <a:tcPr marL="0" marR="0" marT="24130" marB="0"/>
                </a:tc>
                <a:extLst>
                  <a:ext uri="{0D108BD9-81ED-4DB2-BD59-A6C34878D82A}">
                    <a16:rowId xmlns:a16="http://schemas.microsoft.com/office/drawing/2014/main" val="10005"/>
                  </a:ext>
                </a:extLst>
              </a:tr>
              <a:tr h="373803">
                <a:tc>
                  <a:txBody>
                    <a:bodyPr/>
                    <a:lstStyle/>
                    <a:p>
                      <a:pPr marL="31750">
                        <a:lnSpc>
                          <a:spcPct val="100000"/>
                        </a:lnSpc>
                        <a:spcBef>
                          <a:spcPts val="285"/>
                        </a:spcBef>
                      </a:pPr>
                      <a:r>
                        <a:rPr sz="2100" dirty="0">
                          <a:solidFill>
                            <a:srgbClr val="F5F5F5"/>
                          </a:solidFill>
                          <a:latin typeface="Tahoma"/>
                          <a:cs typeface="Tahoma"/>
                        </a:rPr>
                        <a:t>South</a:t>
                      </a:r>
                      <a:r>
                        <a:rPr sz="2100" spc="-60" dirty="0">
                          <a:solidFill>
                            <a:srgbClr val="F5F5F5"/>
                          </a:solidFill>
                          <a:latin typeface="Tahoma"/>
                          <a:cs typeface="Tahoma"/>
                        </a:rPr>
                        <a:t> </a:t>
                      </a:r>
                      <a:r>
                        <a:rPr sz="2100" spc="-10" dirty="0">
                          <a:solidFill>
                            <a:srgbClr val="F5F5F5"/>
                          </a:solidFill>
                          <a:latin typeface="Tahoma"/>
                          <a:cs typeface="Tahoma"/>
                        </a:rPr>
                        <a:t>Chicago</a:t>
                      </a:r>
                      <a:endParaRPr sz="2100">
                        <a:latin typeface="Tahoma"/>
                        <a:cs typeface="Tahoma"/>
                      </a:endParaRPr>
                    </a:p>
                  </a:txBody>
                  <a:tcPr marL="0" marR="0" marT="24130" marB="0"/>
                </a:tc>
                <a:tc>
                  <a:txBody>
                    <a:bodyPr/>
                    <a:lstStyle/>
                    <a:p>
                      <a:pPr marL="751205">
                        <a:lnSpc>
                          <a:spcPct val="100000"/>
                        </a:lnSpc>
                        <a:spcBef>
                          <a:spcPts val="285"/>
                        </a:spcBef>
                      </a:pPr>
                      <a:r>
                        <a:rPr sz="2100" spc="-20" dirty="0">
                          <a:solidFill>
                            <a:srgbClr val="F5F5F5"/>
                          </a:solidFill>
                          <a:latin typeface="Tahoma"/>
                          <a:cs typeface="Tahoma"/>
                        </a:rPr>
                        <a:t>15.8</a:t>
                      </a:r>
                      <a:endParaRPr sz="2100">
                        <a:latin typeface="Tahoma"/>
                        <a:cs typeface="Tahoma"/>
                      </a:endParaRPr>
                    </a:p>
                  </a:txBody>
                  <a:tcPr marL="0" marR="0" marT="24130" marB="0"/>
                </a:tc>
                <a:tc>
                  <a:txBody>
                    <a:bodyPr/>
                    <a:lstStyle/>
                    <a:p>
                      <a:pPr marL="140970" algn="ctr">
                        <a:lnSpc>
                          <a:spcPct val="100000"/>
                        </a:lnSpc>
                        <a:spcBef>
                          <a:spcPts val="285"/>
                        </a:spcBef>
                      </a:pPr>
                      <a:r>
                        <a:rPr sz="2100" spc="50" dirty="0">
                          <a:solidFill>
                            <a:srgbClr val="F5F5F5"/>
                          </a:solidFill>
                          <a:latin typeface="Tahoma"/>
                          <a:cs typeface="Tahoma"/>
                        </a:rPr>
                        <a:t>99th</a:t>
                      </a:r>
                      <a:endParaRPr sz="2100">
                        <a:latin typeface="Tahoma"/>
                        <a:cs typeface="Tahoma"/>
                      </a:endParaRPr>
                    </a:p>
                  </a:txBody>
                  <a:tcPr marL="0" marR="0" marT="24130" marB="0"/>
                </a:tc>
                <a:tc>
                  <a:txBody>
                    <a:bodyPr/>
                    <a:lstStyle/>
                    <a:p>
                      <a:pPr marR="24130" algn="r">
                        <a:lnSpc>
                          <a:spcPct val="100000"/>
                        </a:lnSpc>
                        <a:spcBef>
                          <a:spcPts val="285"/>
                        </a:spcBef>
                      </a:pPr>
                      <a:r>
                        <a:rPr sz="2100" spc="-25" dirty="0">
                          <a:solidFill>
                            <a:srgbClr val="F5F5F5"/>
                          </a:solidFill>
                          <a:latin typeface="Tahoma"/>
                          <a:cs typeface="Tahoma"/>
                        </a:rPr>
                        <a:t>2nd</a:t>
                      </a:r>
                      <a:endParaRPr sz="2100">
                        <a:latin typeface="Tahoma"/>
                        <a:cs typeface="Tahoma"/>
                      </a:endParaRPr>
                    </a:p>
                  </a:txBody>
                  <a:tcPr marL="0" marR="0" marT="24130" marB="0"/>
                </a:tc>
                <a:extLst>
                  <a:ext uri="{0D108BD9-81ED-4DB2-BD59-A6C34878D82A}">
                    <a16:rowId xmlns:a16="http://schemas.microsoft.com/office/drawing/2014/main" val="10006"/>
                  </a:ext>
                </a:extLst>
              </a:tr>
              <a:tr h="347980">
                <a:tc>
                  <a:txBody>
                    <a:bodyPr/>
                    <a:lstStyle/>
                    <a:p>
                      <a:pPr marL="31750">
                        <a:lnSpc>
                          <a:spcPts val="3725"/>
                        </a:lnSpc>
                        <a:spcBef>
                          <a:spcPts val="285"/>
                        </a:spcBef>
                      </a:pPr>
                      <a:r>
                        <a:rPr sz="2100" dirty="0">
                          <a:solidFill>
                            <a:srgbClr val="F5F5F5"/>
                          </a:solidFill>
                          <a:latin typeface="Tahoma"/>
                          <a:cs typeface="Tahoma"/>
                        </a:rPr>
                        <a:t>Chicago</a:t>
                      </a:r>
                      <a:r>
                        <a:rPr sz="2100" spc="85" dirty="0">
                          <a:solidFill>
                            <a:srgbClr val="F5F5F5"/>
                          </a:solidFill>
                          <a:latin typeface="Tahoma"/>
                          <a:cs typeface="Tahoma"/>
                        </a:rPr>
                        <a:t> </a:t>
                      </a:r>
                      <a:r>
                        <a:rPr sz="2100" dirty="0">
                          <a:solidFill>
                            <a:srgbClr val="F5F5F5"/>
                          </a:solidFill>
                          <a:latin typeface="Tahoma"/>
                          <a:cs typeface="Tahoma"/>
                        </a:rPr>
                        <a:t>(2005-</a:t>
                      </a:r>
                      <a:r>
                        <a:rPr sz="2100" spc="-10" dirty="0">
                          <a:solidFill>
                            <a:srgbClr val="F5F5F5"/>
                          </a:solidFill>
                          <a:latin typeface="Tahoma"/>
                          <a:cs typeface="Tahoma"/>
                        </a:rPr>
                        <a:t>2009)</a:t>
                      </a:r>
                      <a:endParaRPr sz="2100">
                        <a:latin typeface="Tahoma"/>
                        <a:cs typeface="Tahoma"/>
                      </a:endParaRPr>
                    </a:p>
                  </a:txBody>
                  <a:tcPr marL="0" marR="0" marT="24130" marB="0"/>
                </a:tc>
                <a:tc>
                  <a:txBody>
                    <a:bodyPr/>
                    <a:lstStyle/>
                    <a:p>
                      <a:pPr marL="913130">
                        <a:lnSpc>
                          <a:spcPts val="3725"/>
                        </a:lnSpc>
                        <a:spcBef>
                          <a:spcPts val="285"/>
                        </a:spcBef>
                      </a:pPr>
                      <a:r>
                        <a:rPr sz="2100" spc="-25" dirty="0">
                          <a:solidFill>
                            <a:srgbClr val="F5F5F5"/>
                          </a:solidFill>
                          <a:latin typeface="Tahoma"/>
                          <a:cs typeface="Tahoma"/>
                        </a:rPr>
                        <a:t>8.1</a:t>
                      </a:r>
                      <a:endParaRPr sz="2100">
                        <a:latin typeface="Tahoma"/>
                        <a:cs typeface="Tahoma"/>
                      </a:endParaRPr>
                    </a:p>
                  </a:txBody>
                  <a:tcPr marL="0" marR="0" marT="24130" marB="0"/>
                </a:tc>
                <a:tc>
                  <a:txBody>
                    <a:bodyPr/>
                    <a:lstStyle/>
                    <a:p>
                      <a:pPr>
                        <a:lnSpc>
                          <a:spcPct val="100000"/>
                        </a:lnSpc>
                      </a:pPr>
                      <a:endParaRPr sz="1700">
                        <a:latin typeface="Times New Roman"/>
                        <a:cs typeface="Times New Roman"/>
                      </a:endParaRPr>
                    </a:p>
                  </a:txBody>
                  <a:tcPr marL="0" marR="0" marT="0" marB="0"/>
                </a:tc>
                <a:tc>
                  <a:txBody>
                    <a:bodyPr/>
                    <a:lstStyle/>
                    <a:p>
                      <a:pPr>
                        <a:lnSpc>
                          <a:spcPct val="100000"/>
                        </a:lnSpc>
                      </a:pPr>
                      <a:endParaRPr sz="1700">
                        <a:latin typeface="Times New Roman"/>
                        <a:cs typeface="Times New Roman"/>
                      </a:endParaRPr>
                    </a:p>
                  </a:txBody>
                  <a:tcPr marL="0" marR="0" marT="0" marB="0"/>
                </a:tc>
                <a:extLst>
                  <a:ext uri="{0D108BD9-81ED-4DB2-BD59-A6C34878D82A}">
                    <a16:rowId xmlns:a16="http://schemas.microsoft.com/office/drawing/2014/main" val="10007"/>
                  </a:ext>
                </a:extLst>
              </a:tr>
            </a:tbl>
          </a:graphicData>
        </a:graphic>
      </p:graphicFrame>
      <p:sp>
        <p:nvSpPr>
          <p:cNvPr id="15" name="object 15"/>
          <p:cNvSpPr txBox="1">
            <a:spLocks noGrp="1"/>
          </p:cNvSpPr>
          <p:nvPr>
            <p:ph type="title"/>
          </p:nvPr>
        </p:nvSpPr>
        <p:spPr>
          <a:xfrm>
            <a:off x="887346" y="21947"/>
            <a:ext cx="6353307" cy="3479585"/>
          </a:xfrm>
          <a:prstGeom prst="rect">
            <a:avLst/>
          </a:prstGeom>
        </p:spPr>
        <p:txBody>
          <a:bodyPr vert="horz" wrap="square" lIns="0" tIns="93133" rIns="0" bIns="0" rtlCol="0">
            <a:spAutoFit/>
          </a:bodyPr>
          <a:lstStyle/>
          <a:p>
            <a:pPr marL="1678601" marR="3387">
              <a:lnSpc>
                <a:spcPts val="6600"/>
              </a:lnSpc>
              <a:spcBef>
                <a:spcPts val="733"/>
              </a:spcBef>
            </a:pPr>
            <a:r>
              <a:rPr spc="230" dirty="0"/>
              <a:t>Infant</a:t>
            </a:r>
            <a:r>
              <a:rPr spc="-410" dirty="0"/>
              <a:t> </a:t>
            </a:r>
            <a:r>
              <a:rPr spc="113" dirty="0"/>
              <a:t>Mortality</a:t>
            </a:r>
            <a:r>
              <a:rPr spc="-407" dirty="0"/>
              <a:t> </a:t>
            </a:r>
            <a:r>
              <a:rPr spc="157" dirty="0"/>
              <a:t>in</a:t>
            </a:r>
            <a:r>
              <a:rPr spc="-407" dirty="0"/>
              <a:t> </a:t>
            </a:r>
            <a:r>
              <a:rPr spc="237" dirty="0"/>
              <a:t>the </a:t>
            </a:r>
            <a:r>
              <a:rPr spc="267" dirty="0"/>
              <a:t>10th</a:t>
            </a:r>
            <a:r>
              <a:rPr spc="-413" dirty="0"/>
              <a:t> </a:t>
            </a:r>
            <a:r>
              <a:rPr spc="163" dirty="0"/>
              <a:t>ward</a:t>
            </a:r>
          </a:p>
        </p:txBody>
      </p:sp>
      <p:sp>
        <p:nvSpPr>
          <p:cNvPr id="16" name="object 16"/>
          <p:cNvSpPr/>
          <p:nvPr/>
        </p:nvSpPr>
        <p:spPr>
          <a:xfrm>
            <a:off x="8844236" y="1013034"/>
            <a:ext cx="673100" cy="673100"/>
          </a:xfrm>
          <a:custGeom>
            <a:avLst/>
            <a:gdLst/>
            <a:ahLst/>
            <a:cxnLst/>
            <a:rect l="l" t="t" r="r" b="b"/>
            <a:pathLst>
              <a:path w="1009650" h="1009650">
                <a:moveTo>
                  <a:pt x="504677" y="1009354"/>
                </a:moveTo>
                <a:lnTo>
                  <a:pt x="456074" y="1007044"/>
                </a:lnTo>
                <a:lnTo>
                  <a:pt x="408777" y="1000254"/>
                </a:lnTo>
                <a:lnTo>
                  <a:pt x="362999" y="989196"/>
                </a:lnTo>
                <a:lnTo>
                  <a:pt x="318951" y="974082"/>
                </a:lnTo>
                <a:lnTo>
                  <a:pt x="276845" y="955122"/>
                </a:lnTo>
                <a:lnTo>
                  <a:pt x="236892" y="932529"/>
                </a:lnTo>
                <a:lnTo>
                  <a:pt x="199303" y="906514"/>
                </a:lnTo>
                <a:lnTo>
                  <a:pt x="164291" y="877288"/>
                </a:lnTo>
                <a:lnTo>
                  <a:pt x="132066" y="845063"/>
                </a:lnTo>
                <a:lnTo>
                  <a:pt x="102840" y="810051"/>
                </a:lnTo>
                <a:lnTo>
                  <a:pt x="76825" y="772462"/>
                </a:lnTo>
                <a:lnTo>
                  <a:pt x="54232" y="732509"/>
                </a:lnTo>
                <a:lnTo>
                  <a:pt x="35272" y="690403"/>
                </a:lnTo>
                <a:lnTo>
                  <a:pt x="20158" y="646355"/>
                </a:lnTo>
                <a:lnTo>
                  <a:pt x="9100" y="600577"/>
                </a:lnTo>
                <a:lnTo>
                  <a:pt x="2310" y="553280"/>
                </a:lnTo>
                <a:lnTo>
                  <a:pt x="0" y="504677"/>
                </a:lnTo>
                <a:lnTo>
                  <a:pt x="2310" y="456073"/>
                </a:lnTo>
                <a:lnTo>
                  <a:pt x="9100" y="408776"/>
                </a:lnTo>
                <a:lnTo>
                  <a:pt x="20158" y="362998"/>
                </a:lnTo>
                <a:lnTo>
                  <a:pt x="35272" y="318950"/>
                </a:lnTo>
                <a:lnTo>
                  <a:pt x="54232" y="276844"/>
                </a:lnTo>
                <a:lnTo>
                  <a:pt x="76825" y="236891"/>
                </a:lnTo>
                <a:lnTo>
                  <a:pt x="102840" y="199303"/>
                </a:lnTo>
                <a:lnTo>
                  <a:pt x="132066" y="164290"/>
                </a:lnTo>
                <a:lnTo>
                  <a:pt x="164291" y="132065"/>
                </a:lnTo>
                <a:lnTo>
                  <a:pt x="199303" y="102840"/>
                </a:lnTo>
                <a:lnTo>
                  <a:pt x="236892" y="76824"/>
                </a:lnTo>
                <a:lnTo>
                  <a:pt x="276845" y="54231"/>
                </a:lnTo>
                <a:lnTo>
                  <a:pt x="318951" y="35272"/>
                </a:lnTo>
                <a:lnTo>
                  <a:pt x="362999" y="20157"/>
                </a:lnTo>
                <a:lnTo>
                  <a:pt x="408777" y="9100"/>
                </a:lnTo>
                <a:lnTo>
                  <a:pt x="456074" y="2310"/>
                </a:lnTo>
                <a:lnTo>
                  <a:pt x="504677" y="0"/>
                </a:lnTo>
                <a:lnTo>
                  <a:pt x="553281" y="2310"/>
                </a:lnTo>
                <a:lnTo>
                  <a:pt x="600578" y="9100"/>
                </a:lnTo>
                <a:lnTo>
                  <a:pt x="646355" y="20157"/>
                </a:lnTo>
                <a:lnTo>
                  <a:pt x="690403" y="35272"/>
                </a:lnTo>
                <a:lnTo>
                  <a:pt x="732509" y="54231"/>
                </a:lnTo>
                <a:lnTo>
                  <a:pt x="772462" y="76824"/>
                </a:lnTo>
                <a:lnTo>
                  <a:pt x="810051" y="102840"/>
                </a:lnTo>
                <a:lnTo>
                  <a:pt x="845063" y="132065"/>
                </a:lnTo>
                <a:lnTo>
                  <a:pt x="877288" y="164290"/>
                </a:lnTo>
                <a:lnTo>
                  <a:pt x="906514" y="199303"/>
                </a:lnTo>
                <a:lnTo>
                  <a:pt x="932529" y="236891"/>
                </a:lnTo>
                <a:lnTo>
                  <a:pt x="955122" y="276844"/>
                </a:lnTo>
                <a:lnTo>
                  <a:pt x="974081" y="318950"/>
                </a:lnTo>
                <a:lnTo>
                  <a:pt x="989195" y="362998"/>
                </a:lnTo>
                <a:lnTo>
                  <a:pt x="1000253" y="408776"/>
                </a:lnTo>
                <a:lnTo>
                  <a:pt x="1007043" y="456073"/>
                </a:lnTo>
                <a:lnTo>
                  <a:pt x="1009353" y="504677"/>
                </a:lnTo>
                <a:lnTo>
                  <a:pt x="1007043" y="553280"/>
                </a:lnTo>
                <a:lnTo>
                  <a:pt x="1000253" y="600577"/>
                </a:lnTo>
                <a:lnTo>
                  <a:pt x="989195" y="646355"/>
                </a:lnTo>
                <a:lnTo>
                  <a:pt x="974081" y="690403"/>
                </a:lnTo>
                <a:lnTo>
                  <a:pt x="955122" y="732509"/>
                </a:lnTo>
                <a:lnTo>
                  <a:pt x="932529" y="772462"/>
                </a:lnTo>
                <a:lnTo>
                  <a:pt x="906514" y="810051"/>
                </a:lnTo>
                <a:lnTo>
                  <a:pt x="877288" y="845063"/>
                </a:lnTo>
                <a:lnTo>
                  <a:pt x="845063" y="877288"/>
                </a:lnTo>
                <a:lnTo>
                  <a:pt x="810051" y="906514"/>
                </a:lnTo>
                <a:lnTo>
                  <a:pt x="772462" y="932529"/>
                </a:lnTo>
                <a:lnTo>
                  <a:pt x="732509" y="955122"/>
                </a:lnTo>
                <a:lnTo>
                  <a:pt x="690403" y="974082"/>
                </a:lnTo>
                <a:lnTo>
                  <a:pt x="646355" y="989196"/>
                </a:lnTo>
                <a:lnTo>
                  <a:pt x="600578" y="1000254"/>
                </a:lnTo>
                <a:lnTo>
                  <a:pt x="553281" y="1007044"/>
                </a:lnTo>
                <a:lnTo>
                  <a:pt x="504677" y="1009354"/>
                </a:lnTo>
                <a:close/>
              </a:path>
            </a:pathLst>
          </a:custGeom>
          <a:solidFill>
            <a:srgbClr val="898B6B"/>
          </a:solidFill>
        </p:spPr>
        <p:txBody>
          <a:bodyPr wrap="square" lIns="0" tIns="0" rIns="0" bIns="0" rtlCol="0"/>
          <a:lstStyle/>
          <a:p>
            <a:pPr defTabSz="609630"/>
            <a:endParaRPr sz="1200" kern="0">
              <a:solidFill>
                <a:sysClr val="windowText" lastClr="000000"/>
              </a:solidFill>
            </a:endParaRPr>
          </a:p>
        </p:txBody>
      </p:sp>
      <p:sp>
        <p:nvSpPr>
          <p:cNvPr id="17" name="object 17"/>
          <p:cNvSpPr txBox="1"/>
          <p:nvPr/>
        </p:nvSpPr>
        <p:spPr>
          <a:xfrm>
            <a:off x="873876" y="2108091"/>
            <a:ext cx="2130213" cy="326650"/>
          </a:xfrm>
          <a:prstGeom prst="rect">
            <a:avLst/>
          </a:prstGeom>
        </p:spPr>
        <p:txBody>
          <a:bodyPr vert="horz" wrap="square" lIns="0" tIns="8467" rIns="0" bIns="0" rtlCol="0">
            <a:spAutoFit/>
          </a:bodyPr>
          <a:lstStyle/>
          <a:p>
            <a:pPr marL="8467" defTabSz="609630">
              <a:spcBef>
                <a:spcPts val="67"/>
              </a:spcBef>
            </a:pPr>
            <a:r>
              <a:rPr sz="2067" kern="0" spc="47" dirty="0">
                <a:solidFill>
                  <a:srgbClr val="D8B094"/>
                </a:solidFill>
                <a:latin typeface="Arial"/>
                <a:cs typeface="Arial"/>
              </a:rPr>
              <a:t>Community</a:t>
            </a:r>
            <a:r>
              <a:rPr sz="2067" kern="0" spc="-60" dirty="0">
                <a:solidFill>
                  <a:srgbClr val="D8B094"/>
                </a:solidFill>
                <a:latin typeface="Arial"/>
                <a:cs typeface="Arial"/>
              </a:rPr>
              <a:t> </a:t>
            </a:r>
            <a:r>
              <a:rPr sz="2067" kern="0" spc="-13" dirty="0">
                <a:solidFill>
                  <a:srgbClr val="D8B094"/>
                </a:solidFill>
                <a:latin typeface="Arial"/>
                <a:cs typeface="Arial"/>
              </a:rPr>
              <a:t>areas</a:t>
            </a:r>
            <a:endParaRPr sz="2067" kern="0">
              <a:solidFill>
                <a:sysClr val="windowText" lastClr="000000"/>
              </a:solidFill>
              <a:latin typeface="Arial"/>
              <a:cs typeface="Arial"/>
            </a:endParaRPr>
          </a:p>
        </p:txBody>
      </p:sp>
      <p:sp>
        <p:nvSpPr>
          <p:cNvPr id="18" name="object 18"/>
          <p:cNvSpPr txBox="1"/>
          <p:nvPr/>
        </p:nvSpPr>
        <p:spPr>
          <a:xfrm>
            <a:off x="4057508" y="2108091"/>
            <a:ext cx="6824133" cy="326650"/>
          </a:xfrm>
          <a:prstGeom prst="rect">
            <a:avLst/>
          </a:prstGeom>
        </p:spPr>
        <p:txBody>
          <a:bodyPr vert="horz" wrap="square" lIns="0" tIns="8467" rIns="0" bIns="0" rtlCol="0">
            <a:spAutoFit/>
          </a:bodyPr>
          <a:lstStyle/>
          <a:p>
            <a:pPr marL="8467" defTabSz="609630">
              <a:spcBef>
                <a:spcPts val="67"/>
              </a:spcBef>
              <a:tabLst>
                <a:tab pos="3501142" algn="l"/>
                <a:tab pos="6211457" algn="l"/>
              </a:tabLst>
            </a:pPr>
            <a:r>
              <a:rPr sz="2067" kern="0" dirty="0">
                <a:solidFill>
                  <a:srgbClr val="D8B094"/>
                </a:solidFill>
                <a:latin typeface="Arial"/>
                <a:cs typeface="Arial"/>
              </a:rPr>
              <a:t>Per</a:t>
            </a:r>
            <a:r>
              <a:rPr sz="2067" kern="0" spc="-17" dirty="0">
                <a:solidFill>
                  <a:srgbClr val="D8B094"/>
                </a:solidFill>
                <a:latin typeface="Arial"/>
                <a:cs typeface="Arial"/>
              </a:rPr>
              <a:t> </a:t>
            </a:r>
            <a:r>
              <a:rPr sz="2067" kern="0" spc="-140" dirty="0">
                <a:solidFill>
                  <a:srgbClr val="D8B094"/>
                </a:solidFill>
                <a:latin typeface="Arial"/>
                <a:cs typeface="Arial"/>
              </a:rPr>
              <a:t>1,000</a:t>
            </a:r>
            <a:r>
              <a:rPr sz="2067" kern="0" spc="-17" dirty="0">
                <a:solidFill>
                  <a:srgbClr val="D8B094"/>
                </a:solidFill>
                <a:latin typeface="Arial"/>
                <a:cs typeface="Arial"/>
              </a:rPr>
              <a:t> </a:t>
            </a:r>
            <a:r>
              <a:rPr sz="2067" kern="0" dirty="0">
                <a:solidFill>
                  <a:srgbClr val="D8B094"/>
                </a:solidFill>
                <a:latin typeface="Arial"/>
                <a:cs typeface="Arial"/>
              </a:rPr>
              <a:t>live</a:t>
            </a:r>
            <a:r>
              <a:rPr sz="2067" kern="0" spc="-17" dirty="0">
                <a:solidFill>
                  <a:srgbClr val="D8B094"/>
                </a:solidFill>
                <a:latin typeface="Arial"/>
                <a:cs typeface="Arial"/>
              </a:rPr>
              <a:t> </a:t>
            </a:r>
            <a:r>
              <a:rPr sz="2067" kern="0" spc="70" dirty="0">
                <a:solidFill>
                  <a:srgbClr val="D8B094"/>
                </a:solidFill>
                <a:latin typeface="Arial"/>
                <a:cs typeface="Arial"/>
              </a:rPr>
              <a:t>births</a:t>
            </a:r>
            <a:r>
              <a:rPr sz="2067" kern="0" dirty="0">
                <a:solidFill>
                  <a:srgbClr val="D8B094"/>
                </a:solidFill>
                <a:latin typeface="Arial"/>
                <a:cs typeface="Arial"/>
              </a:rPr>
              <a:t>	</a:t>
            </a:r>
            <a:r>
              <a:rPr sz="2067" kern="0" spc="-13" dirty="0">
                <a:solidFill>
                  <a:srgbClr val="D8B094"/>
                </a:solidFill>
                <a:latin typeface="Arial"/>
                <a:cs typeface="Arial"/>
              </a:rPr>
              <a:t>%ile</a:t>
            </a:r>
            <a:r>
              <a:rPr sz="2067" kern="0" dirty="0">
                <a:solidFill>
                  <a:srgbClr val="D8B094"/>
                </a:solidFill>
                <a:latin typeface="Arial"/>
                <a:cs typeface="Arial"/>
              </a:rPr>
              <a:t>	</a:t>
            </a:r>
            <a:r>
              <a:rPr sz="2067" kern="0" spc="-13" dirty="0">
                <a:solidFill>
                  <a:srgbClr val="D8B094"/>
                </a:solidFill>
                <a:latin typeface="Arial"/>
                <a:cs typeface="Arial"/>
              </a:rPr>
              <a:t>Rank</a:t>
            </a:r>
            <a:endParaRPr sz="2067" kern="0">
              <a:solidFill>
                <a:sysClr val="windowText" lastClr="000000"/>
              </a:solidFill>
              <a:latin typeface="Arial"/>
              <a:cs typeface="Arial"/>
            </a:endParaRPr>
          </a:p>
        </p:txBody>
      </p:sp>
      <p:sp>
        <p:nvSpPr>
          <p:cNvPr id="19" name="object 19"/>
          <p:cNvSpPr txBox="1"/>
          <p:nvPr/>
        </p:nvSpPr>
        <p:spPr>
          <a:xfrm>
            <a:off x="2097134" y="5851347"/>
            <a:ext cx="7563697" cy="535874"/>
          </a:xfrm>
          <a:prstGeom prst="rect">
            <a:avLst/>
          </a:prstGeom>
        </p:spPr>
        <p:txBody>
          <a:bodyPr vert="horz" wrap="square" lIns="0" tIns="8467" rIns="0" bIns="0" rtlCol="0">
            <a:spAutoFit/>
          </a:bodyPr>
          <a:lstStyle/>
          <a:p>
            <a:pPr marL="1145174" marR="1140094" indent="-423" algn="ctr" defTabSz="609630">
              <a:lnSpc>
                <a:spcPct val="112500"/>
              </a:lnSpc>
              <a:spcBef>
                <a:spcPts val="67"/>
              </a:spcBef>
            </a:pPr>
            <a:r>
              <a:rPr sz="1000" kern="0" dirty="0">
                <a:solidFill>
                  <a:srgbClr val="F5F5F5"/>
                </a:solidFill>
                <a:latin typeface="Arial"/>
                <a:cs typeface="Arial"/>
              </a:rPr>
              <a:t>(https://chicagohealthatlas.org/indicators/VRIMR?topic=infant-mortality-</a:t>
            </a:r>
            <a:r>
              <a:rPr sz="1000" kern="0" spc="-7" dirty="0">
                <a:solidFill>
                  <a:srgbClr val="F5F5F5"/>
                </a:solidFill>
                <a:latin typeface="Arial"/>
                <a:cs typeface="Arial"/>
              </a:rPr>
              <a:t>rate) </a:t>
            </a:r>
            <a:r>
              <a:rPr sz="1000" kern="0" dirty="0">
                <a:solidFill>
                  <a:srgbClr val="F5F5F5"/>
                </a:solidFill>
                <a:latin typeface="Arial"/>
                <a:cs typeface="Arial"/>
              </a:rPr>
              <a:t>(https://data.cityofchicago.org/Health-</a:t>
            </a:r>
            <a:r>
              <a:rPr sz="1000" kern="0" spc="-7" dirty="0">
                <a:solidFill>
                  <a:srgbClr val="F5F5F5"/>
                </a:solidFill>
                <a:latin typeface="Arial"/>
                <a:cs typeface="Arial"/>
              </a:rPr>
              <a:t>Human-</a:t>
            </a:r>
            <a:r>
              <a:rPr sz="1000" kern="0" dirty="0">
                <a:solidFill>
                  <a:srgbClr val="F5F5F5"/>
                </a:solidFill>
                <a:latin typeface="Arial"/>
                <a:cs typeface="Arial"/>
              </a:rPr>
              <a:t>Services/Chicago-Infant-Mortality/5qqb-</a:t>
            </a:r>
            <a:r>
              <a:rPr sz="1000" kern="0" spc="-7" dirty="0">
                <a:solidFill>
                  <a:srgbClr val="F5F5F5"/>
                </a:solidFill>
                <a:latin typeface="Arial"/>
                <a:cs typeface="Arial"/>
              </a:rPr>
              <a:t>uvkn)</a:t>
            </a:r>
            <a:endParaRPr sz="1000" kern="0">
              <a:solidFill>
                <a:sysClr val="windowText" lastClr="000000"/>
              </a:solidFill>
              <a:latin typeface="Arial"/>
              <a:cs typeface="Arial"/>
            </a:endParaRPr>
          </a:p>
          <a:p>
            <a:pPr algn="ctr" defTabSz="609630">
              <a:spcBef>
                <a:spcPts val="150"/>
              </a:spcBef>
            </a:pPr>
            <a:r>
              <a:rPr sz="1000" kern="0" dirty="0">
                <a:solidFill>
                  <a:srgbClr val="F5F5F5"/>
                </a:solidFill>
                <a:latin typeface="Arial"/>
                <a:cs typeface="Arial"/>
              </a:rPr>
              <a:t>(https://</a:t>
            </a:r>
            <a:r>
              <a:rPr sz="1000" kern="0" dirty="0">
                <a:solidFill>
                  <a:srgbClr val="F5F5F5"/>
                </a:solidFill>
                <a:latin typeface="Arial"/>
                <a:cs typeface="Arial"/>
                <a:hlinkClick r:id="rId7"/>
              </a:rPr>
              <a:t>www.uchicagomedicine.org/-</a:t>
            </a:r>
            <a:r>
              <a:rPr sz="1000" kern="0" spc="30" dirty="0">
                <a:solidFill>
                  <a:srgbClr val="F5F5F5"/>
                </a:solidFill>
                <a:latin typeface="Arial"/>
                <a:cs typeface="Arial"/>
                <a:hlinkClick r:id="rId7"/>
              </a:rPr>
              <a:t>/media/pdfs/adult-</a:t>
            </a:r>
            <a:r>
              <a:rPr sz="1000" kern="0" dirty="0">
                <a:solidFill>
                  <a:srgbClr val="F5F5F5"/>
                </a:solidFill>
                <a:latin typeface="Arial"/>
                <a:cs typeface="Arial"/>
                <a:hlinkClick r:id="rId7"/>
              </a:rPr>
              <a:t>pdfs/community/chna-community-profiles/riverdale-community-</a:t>
            </a:r>
            <a:r>
              <a:rPr sz="1000" kern="0" spc="-7" dirty="0">
                <a:solidFill>
                  <a:srgbClr val="F5F5F5"/>
                </a:solidFill>
                <a:latin typeface="Arial"/>
                <a:cs typeface="Arial"/>
                <a:hlinkClick r:id="rId7"/>
              </a:rPr>
              <a:t>profile.pdf)</a:t>
            </a:r>
            <a:endParaRPr sz="1000" kern="0">
              <a:solidFill>
                <a:sysClr val="windowText" lastClr="000000"/>
              </a:solidFill>
              <a:latin typeface="Arial"/>
              <a:cs typeface="Aria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685799" y="2200909"/>
            <a:ext cx="10820400" cy="4267623"/>
          </a:xfrm>
          <a:prstGeom prst="rect">
            <a:avLst/>
          </a:prstGeom>
        </p:spPr>
      </p:pic>
      <p:sp>
        <p:nvSpPr>
          <p:cNvPr id="3" name="object 3"/>
          <p:cNvSpPr txBox="1">
            <a:spLocks noGrp="1"/>
          </p:cNvSpPr>
          <p:nvPr>
            <p:ph type="title"/>
          </p:nvPr>
        </p:nvSpPr>
        <p:spPr>
          <a:xfrm>
            <a:off x="887346" y="21947"/>
            <a:ext cx="6353307" cy="2599531"/>
          </a:xfrm>
          <a:prstGeom prst="rect">
            <a:avLst/>
          </a:prstGeom>
        </p:spPr>
        <p:txBody>
          <a:bodyPr vert="horz" wrap="square" lIns="0" tIns="745590" rIns="0" bIns="0" rtlCol="0">
            <a:spAutoFit/>
          </a:bodyPr>
          <a:lstStyle/>
          <a:p>
            <a:pPr marL="617674">
              <a:spcBef>
                <a:spcPts val="67"/>
              </a:spcBef>
            </a:pPr>
            <a:r>
              <a:rPr spc="223" dirty="0"/>
              <a:t>What</a:t>
            </a:r>
            <a:r>
              <a:rPr spc="-420" dirty="0"/>
              <a:t> </a:t>
            </a:r>
            <a:r>
              <a:rPr spc="93" dirty="0"/>
              <a:t>is</a:t>
            </a:r>
            <a:r>
              <a:rPr spc="-417" dirty="0"/>
              <a:t> </a:t>
            </a:r>
            <a:r>
              <a:rPr spc="270" dirty="0"/>
              <a:t>a</a:t>
            </a:r>
            <a:r>
              <a:rPr spc="-417" dirty="0"/>
              <a:t> </a:t>
            </a:r>
            <a:r>
              <a:rPr spc="310" dirty="0"/>
              <a:t>Birth</a:t>
            </a:r>
            <a:r>
              <a:rPr spc="-417" dirty="0"/>
              <a:t> </a:t>
            </a:r>
            <a:r>
              <a:rPr spc="310" dirty="0"/>
              <a:t>Center?</a:t>
            </a:r>
          </a:p>
        </p:txBody>
      </p:sp>
      <p:sp>
        <p:nvSpPr>
          <p:cNvPr id="4" name="object 4"/>
          <p:cNvSpPr txBox="1"/>
          <p:nvPr/>
        </p:nvSpPr>
        <p:spPr>
          <a:xfrm>
            <a:off x="1106798" y="4758540"/>
            <a:ext cx="3131820" cy="829352"/>
          </a:xfrm>
          <a:prstGeom prst="rect">
            <a:avLst/>
          </a:prstGeom>
        </p:spPr>
        <p:txBody>
          <a:bodyPr vert="horz" wrap="square" lIns="0" tIns="8467" rIns="0" bIns="0" rtlCol="0">
            <a:spAutoFit/>
          </a:bodyPr>
          <a:lstStyle/>
          <a:p>
            <a:pPr marL="8467" marR="3387" algn="ctr" defTabSz="609630">
              <a:lnSpc>
                <a:spcPct val="114599"/>
              </a:lnSpc>
              <a:spcBef>
                <a:spcPts val="67"/>
              </a:spcBef>
            </a:pPr>
            <a:r>
              <a:rPr sz="1600" kern="0" dirty="0">
                <a:solidFill>
                  <a:srgbClr val="F5F5F5"/>
                </a:solidFill>
                <a:latin typeface="Tahoma"/>
                <a:cs typeface="Tahoma"/>
              </a:rPr>
              <a:t>Free</a:t>
            </a:r>
            <a:r>
              <a:rPr sz="1600" kern="0" spc="-43" dirty="0">
                <a:solidFill>
                  <a:srgbClr val="F5F5F5"/>
                </a:solidFill>
                <a:latin typeface="Tahoma"/>
                <a:cs typeface="Tahoma"/>
              </a:rPr>
              <a:t> </a:t>
            </a:r>
            <a:r>
              <a:rPr sz="1600" kern="0" spc="-23" dirty="0">
                <a:solidFill>
                  <a:srgbClr val="F5F5F5"/>
                </a:solidFill>
                <a:latin typeface="Tahoma"/>
                <a:cs typeface="Tahoma"/>
              </a:rPr>
              <a:t>standing,</a:t>
            </a:r>
            <a:r>
              <a:rPr sz="1600" kern="0" spc="-40" dirty="0">
                <a:solidFill>
                  <a:srgbClr val="F5F5F5"/>
                </a:solidFill>
                <a:latin typeface="Tahoma"/>
                <a:cs typeface="Tahoma"/>
              </a:rPr>
              <a:t> </a:t>
            </a:r>
            <a:r>
              <a:rPr sz="1600" kern="0" dirty="0">
                <a:solidFill>
                  <a:srgbClr val="F5F5F5"/>
                </a:solidFill>
                <a:latin typeface="Tahoma"/>
                <a:cs typeface="Tahoma"/>
              </a:rPr>
              <a:t>home-</a:t>
            </a:r>
            <a:r>
              <a:rPr sz="1600" kern="0" spc="-13" dirty="0">
                <a:solidFill>
                  <a:srgbClr val="F5F5F5"/>
                </a:solidFill>
                <a:latin typeface="Tahoma"/>
                <a:cs typeface="Tahoma"/>
              </a:rPr>
              <a:t>like </a:t>
            </a:r>
            <a:r>
              <a:rPr sz="1600" kern="0" dirty="0">
                <a:solidFill>
                  <a:srgbClr val="F5F5F5"/>
                </a:solidFill>
                <a:latin typeface="Tahoma"/>
                <a:cs typeface="Tahoma"/>
              </a:rPr>
              <a:t>atmosphere</a:t>
            </a:r>
            <a:r>
              <a:rPr sz="1600" kern="0" spc="-80" dirty="0">
                <a:solidFill>
                  <a:srgbClr val="F5F5F5"/>
                </a:solidFill>
                <a:latin typeface="Tahoma"/>
                <a:cs typeface="Tahoma"/>
              </a:rPr>
              <a:t> </a:t>
            </a:r>
            <a:r>
              <a:rPr sz="1600" kern="0" dirty="0">
                <a:solidFill>
                  <a:srgbClr val="F5F5F5"/>
                </a:solidFill>
                <a:latin typeface="Tahoma"/>
                <a:cs typeface="Tahoma"/>
              </a:rPr>
              <a:t>that</a:t>
            </a:r>
            <a:r>
              <a:rPr sz="1600" kern="0" spc="-76" dirty="0">
                <a:solidFill>
                  <a:srgbClr val="F5F5F5"/>
                </a:solidFill>
                <a:latin typeface="Tahoma"/>
                <a:cs typeface="Tahoma"/>
              </a:rPr>
              <a:t> </a:t>
            </a:r>
            <a:r>
              <a:rPr sz="1600" kern="0" dirty="0">
                <a:solidFill>
                  <a:srgbClr val="F5F5F5"/>
                </a:solidFill>
                <a:latin typeface="Tahoma"/>
                <a:cs typeface="Tahoma"/>
              </a:rPr>
              <a:t>is</a:t>
            </a:r>
            <a:r>
              <a:rPr sz="1600" kern="0" spc="-76" dirty="0">
                <a:solidFill>
                  <a:srgbClr val="F5F5F5"/>
                </a:solidFill>
                <a:latin typeface="Tahoma"/>
                <a:cs typeface="Tahoma"/>
              </a:rPr>
              <a:t> </a:t>
            </a:r>
            <a:r>
              <a:rPr sz="1600" kern="0" dirty="0">
                <a:solidFill>
                  <a:srgbClr val="F5F5F5"/>
                </a:solidFill>
                <a:latin typeface="Tahoma"/>
                <a:cs typeface="Tahoma"/>
              </a:rPr>
              <a:t>centered</a:t>
            </a:r>
            <a:r>
              <a:rPr sz="1600" kern="0" spc="-76" dirty="0">
                <a:solidFill>
                  <a:srgbClr val="F5F5F5"/>
                </a:solidFill>
                <a:latin typeface="Tahoma"/>
                <a:cs typeface="Tahoma"/>
              </a:rPr>
              <a:t> </a:t>
            </a:r>
            <a:r>
              <a:rPr sz="1600" kern="0" spc="-7" dirty="0">
                <a:solidFill>
                  <a:srgbClr val="F5F5F5"/>
                </a:solidFill>
                <a:latin typeface="Tahoma"/>
                <a:cs typeface="Tahoma"/>
              </a:rPr>
              <a:t>within </a:t>
            </a:r>
            <a:r>
              <a:rPr sz="1600" kern="0" dirty="0">
                <a:solidFill>
                  <a:srgbClr val="F5F5F5"/>
                </a:solidFill>
                <a:latin typeface="Tahoma"/>
                <a:cs typeface="Tahoma"/>
              </a:rPr>
              <a:t>the</a:t>
            </a:r>
            <a:r>
              <a:rPr sz="1600" kern="0" spc="-90" dirty="0">
                <a:solidFill>
                  <a:srgbClr val="F5F5F5"/>
                </a:solidFill>
                <a:latin typeface="Tahoma"/>
                <a:cs typeface="Tahoma"/>
              </a:rPr>
              <a:t> </a:t>
            </a:r>
            <a:r>
              <a:rPr sz="1600" kern="0" dirty="0">
                <a:solidFill>
                  <a:srgbClr val="F5F5F5"/>
                </a:solidFill>
                <a:latin typeface="Tahoma"/>
                <a:cs typeface="Tahoma"/>
              </a:rPr>
              <a:t>healthcare</a:t>
            </a:r>
            <a:r>
              <a:rPr sz="1600" kern="0" spc="-90" dirty="0">
                <a:solidFill>
                  <a:srgbClr val="F5F5F5"/>
                </a:solidFill>
                <a:latin typeface="Tahoma"/>
                <a:cs typeface="Tahoma"/>
              </a:rPr>
              <a:t> </a:t>
            </a:r>
            <a:r>
              <a:rPr sz="1600" kern="0" spc="-7" dirty="0">
                <a:solidFill>
                  <a:srgbClr val="F5F5F5"/>
                </a:solidFill>
                <a:latin typeface="Tahoma"/>
                <a:cs typeface="Tahoma"/>
              </a:rPr>
              <a:t>system</a:t>
            </a:r>
            <a:endParaRPr sz="1600" kern="0">
              <a:solidFill>
                <a:sysClr val="windowText" lastClr="000000"/>
              </a:solidFill>
              <a:latin typeface="Tahoma"/>
              <a:cs typeface="Tahoma"/>
            </a:endParaRPr>
          </a:p>
        </p:txBody>
      </p:sp>
      <p:sp>
        <p:nvSpPr>
          <p:cNvPr id="5" name="object 5"/>
          <p:cNvSpPr txBox="1"/>
          <p:nvPr/>
        </p:nvSpPr>
        <p:spPr>
          <a:xfrm>
            <a:off x="4496301" y="4605173"/>
            <a:ext cx="3197013" cy="1112506"/>
          </a:xfrm>
          <a:prstGeom prst="rect">
            <a:avLst/>
          </a:prstGeom>
        </p:spPr>
        <p:txBody>
          <a:bodyPr vert="horz" wrap="square" lIns="0" tIns="8467" rIns="0" bIns="0" rtlCol="0">
            <a:spAutoFit/>
          </a:bodyPr>
          <a:lstStyle/>
          <a:p>
            <a:pPr marL="8467" marR="3387" indent="-423" algn="ctr" defTabSz="609630">
              <a:lnSpc>
                <a:spcPct val="114599"/>
              </a:lnSpc>
              <a:spcBef>
                <a:spcPts val="67"/>
              </a:spcBef>
            </a:pPr>
            <a:r>
              <a:rPr sz="1600" kern="0" spc="123" dirty="0">
                <a:solidFill>
                  <a:srgbClr val="F5F5F5"/>
                </a:solidFill>
                <a:latin typeface="Tahoma"/>
                <a:cs typeface="Tahoma"/>
              </a:rPr>
              <a:t>A</a:t>
            </a:r>
            <a:r>
              <a:rPr sz="1600" kern="0" spc="-93" dirty="0">
                <a:solidFill>
                  <a:srgbClr val="F5F5F5"/>
                </a:solidFill>
                <a:latin typeface="Tahoma"/>
                <a:cs typeface="Tahoma"/>
              </a:rPr>
              <a:t> </a:t>
            </a:r>
            <a:r>
              <a:rPr sz="1600" kern="0" spc="-7" dirty="0">
                <a:solidFill>
                  <a:srgbClr val="F5F5F5"/>
                </a:solidFill>
                <a:latin typeface="Tahoma"/>
                <a:cs typeface="Tahoma"/>
              </a:rPr>
              <a:t>“wellness</a:t>
            </a:r>
            <a:r>
              <a:rPr sz="1600" kern="0" spc="-93" dirty="0">
                <a:solidFill>
                  <a:srgbClr val="F5F5F5"/>
                </a:solidFill>
                <a:latin typeface="Tahoma"/>
                <a:cs typeface="Tahoma"/>
              </a:rPr>
              <a:t> </a:t>
            </a:r>
            <a:r>
              <a:rPr sz="1600" kern="0" spc="-7" dirty="0">
                <a:solidFill>
                  <a:srgbClr val="F5F5F5"/>
                </a:solidFill>
                <a:latin typeface="Tahoma"/>
                <a:cs typeface="Tahoma"/>
              </a:rPr>
              <a:t>model”</a:t>
            </a:r>
            <a:r>
              <a:rPr sz="1600" kern="0" spc="-90" dirty="0">
                <a:solidFill>
                  <a:srgbClr val="F5F5F5"/>
                </a:solidFill>
                <a:latin typeface="Tahoma"/>
                <a:cs typeface="Tahoma"/>
              </a:rPr>
              <a:t> </a:t>
            </a:r>
            <a:r>
              <a:rPr sz="1600" kern="0" dirty="0">
                <a:solidFill>
                  <a:srgbClr val="F5F5F5"/>
                </a:solidFill>
                <a:latin typeface="Tahoma"/>
                <a:cs typeface="Tahoma"/>
              </a:rPr>
              <a:t>guided</a:t>
            </a:r>
            <a:r>
              <a:rPr sz="1600" kern="0" spc="-93" dirty="0">
                <a:solidFill>
                  <a:srgbClr val="F5F5F5"/>
                </a:solidFill>
                <a:latin typeface="Tahoma"/>
                <a:cs typeface="Tahoma"/>
              </a:rPr>
              <a:t> </a:t>
            </a:r>
            <a:r>
              <a:rPr sz="1600" kern="0" spc="-17" dirty="0">
                <a:solidFill>
                  <a:srgbClr val="F5F5F5"/>
                </a:solidFill>
                <a:latin typeface="Tahoma"/>
                <a:cs typeface="Tahoma"/>
              </a:rPr>
              <a:t>by </a:t>
            </a:r>
            <a:r>
              <a:rPr sz="1600" kern="0" dirty="0">
                <a:solidFill>
                  <a:srgbClr val="F5F5F5"/>
                </a:solidFill>
                <a:latin typeface="Tahoma"/>
                <a:cs typeface="Tahoma"/>
              </a:rPr>
              <a:t>principles</a:t>
            </a:r>
            <a:r>
              <a:rPr sz="1600" kern="0" spc="-73" dirty="0">
                <a:solidFill>
                  <a:srgbClr val="F5F5F5"/>
                </a:solidFill>
                <a:latin typeface="Tahoma"/>
                <a:cs typeface="Tahoma"/>
              </a:rPr>
              <a:t> </a:t>
            </a:r>
            <a:r>
              <a:rPr sz="1600" kern="0" spc="40" dirty="0">
                <a:solidFill>
                  <a:srgbClr val="F5F5F5"/>
                </a:solidFill>
                <a:latin typeface="Tahoma"/>
                <a:cs typeface="Tahoma"/>
              </a:rPr>
              <a:t>of</a:t>
            </a:r>
            <a:r>
              <a:rPr sz="1600" kern="0" spc="-73" dirty="0">
                <a:solidFill>
                  <a:srgbClr val="F5F5F5"/>
                </a:solidFill>
                <a:latin typeface="Tahoma"/>
                <a:cs typeface="Tahoma"/>
              </a:rPr>
              <a:t> </a:t>
            </a:r>
            <a:r>
              <a:rPr sz="1600" kern="0" dirty="0">
                <a:solidFill>
                  <a:srgbClr val="F5F5F5"/>
                </a:solidFill>
                <a:latin typeface="Tahoma"/>
                <a:cs typeface="Tahoma"/>
              </a:rPr>
              <a:t>prevention,</a:t>
            </a:r>
            <a:r>
              <a:rPr sz="1600" kern="0" spc="-70" dirty="0">
                <a:solidFill>
                  <a:srgbClr val="F5F5F5"/>
                </a:solidFill>
                <a:latin typeface="Tahoma"/>
                <a:cs typeface="Tahoma"/>
              </a:rPr>
              <a:t> </a:t>
            </a:r>
            <a:r>
              <a:rPr sz="1600" kern="0" spc="-7" dirty="0">
                <a:solidFill>
                  <a:srgbClr val="F5F5F5"/>
                </a:solidFill>
                <a:latin typeface="Tahoma"/>
                <a:cs typeface="Tahoma"/>
              </a:rPr>
              <a:t>sensitivity, </a:t>
            </a:r>
            <a:r>
              <a:rPr sz="1600" kern="0" spc="-13" dirty="0">
                <a:solidFill>
                  <a:srgbClr val="F5F5F5"/>
                </a:solidFill>
                <a:latin typeface="Tahoma"/>
                <a:cs typeface="Tahoma"/>
              </a:rPr>
              <a:t>safety,</a:t>
            </a:r>
            <a:r>
              <a:rPr sz="1600" kern="0" spc="-80" dirty="0">
                <a:solidFill>
                  <a:srgbClr val="F5F5F5"/>
                </a:solidFill>
                <a:latin typeface="Tahoma"/>
                <a:cs typeface="Tahoma"/>
              </a:rPr>
              <a:t> </a:t>
            </a:r>
            <a:r>
              <a:rPr sz="1600" kern="0" dirty="0">
                <a:solidFill>
                  <a:srgbClr val="F5F5F5"/>
                </a:solidFill>
                <a:latin typeface="Tahoma"/>
                <a:cs typeface="Tahoma"/>
              </a:rPr>
              <a:t>appropriate</a:t>
            </a:r>
            <a:r>
              <a:rPr sz="1600" kern="0" spc="-80" dirty="0">
                <a:solidFill>
                  <a:srgbClr val="F5F5F5"/>
                </a:solidFill>
                <a:latin typeface="Tahoma"/>
                <a:cs typeface="Tahoma"/>
              </a:rPr>
              <a:t> </a:t>
            </a:r>
            <a:r>
              <a:rPr sz="1600" kern="0" spc="-7" dirty="0">
                <a:solidFill>
                  <a:srgbClr val="F5F5F5"/>
                </a:solidFill>
                <a:latin typeface="Tahoma"/>
                <a:cs typeface="Tahoma"/>
              </a:rPr>
              <a:t>medical </a:t>
            </a:r>
            <a:r>
              <a:rPr sz="1600" kern="0" dirty="0">
                <a:solidFill>
                  <a:srgbClr val="F5F5F5"/>
                </a:solidFill>
                <a:latin typeface="Tahoma"/>
                <a:cs typeface="Tahoma"/>
              </a:rPr>
              <a:t>intervention,</a:t>
            </a:r>
            <a:r>
              <a:rPr sz="1600" kern="0" spc="-63" dirty="0">
                <a:solidFill>
                  <a:srgbClr val="F5F5F5"/>
                </a:solidFill>
                <a:latin typeface="Tahoma"/>
                <a:cs typeface="Tahoma"/>
              </a:rPr>
              <a:t> </a:t>
            </a:r>
            <a:r>
              <a:rPr sz="1600" kern="0" spc="-7" dirty="0">
                <a:solidFill>
                  <a:srgbClr val="F5F5F5"/>
                </a:solidFill>
                <a:latin typeface="Tahoma"/>
                <a:cs typeface="Tahoma"/>
              </a:rPr>
              <a:t>and</a:t>
            </a:r>
            <a:r>
              <a:rPr sz="1600" kern="0" spc="-63" dirty="0">
                <a:solidFill>
                  <a:srgbClr val="F5F5F5"/>
                </a:solidFill>
                <a:latin typeface="Tahoma"/>
                <a:cs typeface="Tahoma"/>
              </a:rPr>
              <a:t> </a:t>
            </a:r>
            <a:r>
              <a:rPr sz="1600" kern="0" dirty="0">
                <a:solidFill>
                  <a:srgbClr val="F5F5F5"/>
                </a:solidFill>
                <a:latin typeface="Tahoma"/>
                <a:cs typeface="Tahoma"/>
              </a:rPr>
              <a:t>cost</a:t>
            </a:r>
            <a:r>
              <a:rPr sz="1600" kern="0" spc="-63" dirty="0">
                <a:solidFill>
                  <a:srgbClr val="F5F5F5"/>
                </a:solidFill>
                <a:latin typeface="Tahoma"/>
                <a:cs typeface="Tahoma"/>
              </a:rPr>
              <a:t> </a:t>
            </a:r>
            <a:r>
              <a:rPr sz="1600" kern="0" spc="-7" dirty="0">
                <a:solidFill>
                  <a:srgbClr val="F5F5F5"/>
                </a:solidFill>
                <a:latin typeface="Tahoma"/>
                <a:cs typeface="Tahoma"/>
              </a:rPr>
              <a:t>effectiveness</a:t>
            </a:r>
            <a:endParaRPr sz="1600" kern="0">
              <a:solidFill>
                <a:sysClr val="windowText" lastClr="000000"/>
              </a:solidFill>
              <a:latin typeface="Tahoma"/>
              <a:cs typeface="Tahoma"/>
            </a:endParaRPr>
          </a:p>
        </p:txBody>
      </p:sp>
      <p:sp>
        <p:nvSpPr>
          <p:cNvPr id="6" name="object 6"/>
          <p:cNvSpPr txBox="1"/>
          <p:nvPr/>
        </p:nvSpPr>
        <p:spPr>
          <a:xfrm>
            <a:off x="8052908" y="4758540"/>
            <a:ext cx="2929467" cy="1112506"/>
          </a:xfrm>
          <a:prstGeom prst="rect">
            <a:avLst/>
          </a:prstGeom>
        </p:spPr>
        <p:txBody>
          <a:bodyPr vert="horz" wrap="square" lIns="0" tIns="8467" rIns="0" bIns="0" rtlCol="0">
            <a:spAutoFit/>
          </a:bodyPr>
          <a:lstStyle/>
          <a:p>
            <a:pPr marL="8467" marR="3387" algn="ctr" defTabSz="609630">
              <a:lnSpc>
                <a:spcPct val="114599"/>
              </a:lnSpc>
              <a:spcBef>
                <a:spcPts val="67"/>
              </a:spcBef>
            </a:pPr>
            <a:r>
              <a:rPr sz="1600" kern="0" dirty="0">
                <a:solidFill>
                  <a:srgbClr val="F5F5F5"/>
                </a:solidFill>
                <a:latin typeface="Tahoma"/>
                <a:cs typeface="Tahoma"/>
              </a:rPr>
              <a:t>Birth</a:t>
            </a:r>
            <a:r>
              <a:rPr sz="1600" kern="0" spc="-3" dirty="0">
                <a:solidFill>
                  <a:srgbClr val="F5F5F5"/>
                </a:solidFill>
                <a:latin typeface="Tahoma"/>
                <a:cs typeface="Tahoma"/>
              </a:rPr>
              <a:t> </a:t>
            </a:r>
            <a:r>
              <a:rPr sz="1600" kern="0" dirty="0">
                <a:solidFill>
                  <a:srgbClr val="F5F5F5"/>
                </a:solidFill>
                <a:latin typeface="Tahoma"/>
                <a:cs typeface="Tahoma"/>
              </a:rPr>
              <a:t>centers provide</a:t>
            </a:r>
            <a:r>
              <a:rPr sz="1600" kern="0" spc="-3" dirty="0">
                <a:solidFill>
                  <a:srgbClr val="F5F5F5"/>
                </a:solidFill>
                <a:latin typeface="Tahoma"/>
                <a:cs typeface="Tahoma"/>
              </a:rPr>
              <a:t> </a:t>
            </a:r>
            <a:r>
              <a:rPr sz="1600" kern="0" spc="-7" dirty="0">
                <a:solidFill>
                  <a:srgbClr val="F5F5F5"/>
                </a:solidFill>
                <a:latin typeface="Tahoma"/>
                <a:cs typeface="Tahoma"/>
              </a:rPr>
              <a:t>family- </a:t>
            </a:r>
            <a:r>
              <a:rPr sz="1600" kern="0" dirty="0">
                <a:solidFill>
                  <a:srgbClr val="F5F5F5"/>
                </a:solidFill>
                <a:latin typeface="Tahoma"/>
                <a:cs typeface="Tahoma"/>
              </a:rPr>
              <a:t>centered</a:t>
            </a:r>
            <a:r>
              <a:rPr sz="1600" kern="0" spc="-93" dirty="0">
                <a:solidFill>
                  <a:srgbClr val="F5F5F5"/>
                </a:solidFill>
                <a:latin typeface="Tahoma"/>
                <a:cs typeface="Tahoma"/>
              </a:rPr>
              <a:t> </a:t>
            </a:r>
            <a:r>
              <a:rPr sz="1600" kern="0" dirty="0">
                <a:solidFill>
                  <a:srgbClr val="F5F5F5"/>
                </a:solidFill>
                <a:latin typeface="Tahoma"/>
                <a:cs typeface="Tahoma"/>
              </a:rPr>
              <a:t>care</a:t>
            </a:r>
            <a:r>
              <a:rPr sz="1600" kern="0" spc="-90" dirty="0">
                <a:solidFill>
                  <a:srgbClr val="F5F5F5"/>
                </a:solidFill>
                <a:latin typeface="Tahoma"/>
                <a:cs typeface="Tahoma"/>
              </a:rPr>
              <a:t> </a:t>
            </a:r>
            <a:r>
              <a:rPr sz="1600" kern="0" dirty="0">
                <a:solidFill>
                  <a:srgbClr val="F5F5F5"/>
                </a:solidFill>
                <a:latin typeface="Tahoma"/>
                <a:cs typeface="Tahoma"/>
              </a:rPr>
              <a:t>before,</a:t>
            </a:r>
            <a:r>
              <a:rPr sz="1600" kern="0" spc="-93" dirty="0">
                <a:solidFill>
                  <a:srgbClr val="F5F5F5"/>
                </a:solidFill>
                <a:latin typeface="Tahoma"/>
                <a:cs typeface="Tahoma"/>
              </a:rPr>
              <a:t> </a:t>
            </a:r>
            <a:r>
              <a:rPr sz="1600" kern="0" dirty="0">
                <a:solidFill>
                  <a:srgbClr val="F5F5F5"/>
                </a:solidFill>
                <a:latin typeface="Tahoma"/>
                <a:cs typeface="Tahoma"/>
              </a:rPr>
              <a:t>during</a:t>
            </a:r>
            <a:r>
              <a:rPr sz="1600" kern="0" spc="-90" dirty="0">
                <a:solidFill>
                  <a:srgbClr val="F5F5F5"/>
                </a:solidFill>
                <a:latin typeface="Tahoma"/>
                <a:cs typeface="Tahoma"/>
              </a:rPr>
              <a:t> </a:t>
            </a:r>
            <a:r>
              <a:rPr sz="1600" kern="0" spc="-17" dirty="0">
                <a:solidFill>
                  <a:srgbClr val="F5F5F5"/>
                </a:solidFill>
                <a:latin typeface="Tahoma"/>
                <a:cs typeface="Tahoma"/>
              </a:rPr>
              <a:t>and </a:t>
            </a:r>
            <a:r>
              <a:rPr sz="1600" kern="0" dirty="0">
                <a:solidFill>
                  <a:srgbClr val="F5F5F5"/>
                </a:solidFill>
                <a:latin typeface="Tahoma"/>
                <a:cs typeface="Tahoma"/>
              </a:rPr>
              <a:t>after</a:t>
            </a:r>
            <a:r>
              <a:rPr sz="1600" kern="0" spc="-90" dirty="0">
                <a:solidFill>
                  <a:srgbClr val="F5F5F5"/>
                </a:solidFill>
                <a:latin typeface="Tahoma"/>
                <a:cs typeface="Tahoma"/>
              </a:rPr>
              <a:t> </a:t>
            </a:r>
            <a:r>
              <a:rPr sz="1600" kern="0" dirty="0">
                <a:solidFill>
                  <a:srgbClr val="F5F5F5"/>
                </a:solidFill>
                <a:latin typeface="Tahoma"/>
                <a:cs typeface="Tahoma"/>
              </a:rPr>
              <a:t>normal</a:t>
            </a:r>
            <a:r>
              <a:rPr sz="1600" kern="0" spc="-87" dirty="0">
                <a:solidFill>
                  <a:srgbClr val="F5F5F5"/>
                </a:solidFill>
                <a:latin typeface="Tahoma"/>
                <a:cs typeface="Tahoma"/>
              </a:rPr>
              <a:t> </a:t>
            </a:r>
            <a:r>
              <a:rPr sz="1600" kern="0" spc="-17" dirty="0">
                <a:solidFill>
                  <a:srgbClr val="F5F5F5"/>
                </a:solidFill>
                <a:latin typeface="Tahoma"/>
                <a:cs typeface="Tahoma"/>
              </a:rPr>
              <a:t>pregnancy,</a:t>
            </a:r>
            <a:r>
              <a:rPr sz="1600" kern="0" spc="-87" dirty="0">
                <a:solidFill>
                  <a:srgbClr val="F5F5F5"/>
                </a:solidFill>
                <a:latin typeface="Tahoma"/>
                <a:cs typeface="Tahoma"/>
              </a:rPr>
              <a:t> </a:t>
            </a:r>
            <a:r>
              <a:rPr sz="1600" kern="0" spc="-7" dirty="0">
                <a:solidFill>
                  <a:srgbClr val="F5F5F5"/>
                </a:solidFill>
                <a:latin typeface="Tahoma"/>
                <a:cs typeface="Tahoma"/>
              </a:rPr>
              <a:t>labor, and</a:t>
            </a:r>
            <a:r>
              <a:rPr sz="1600" kern="0" spc="-117" dirty="0">
                <a:solidFill>
                  <a:srgbClr val="F5F5F5"/>
                </a:solidFill>
                <a:latin typeface="Tahoma"/>
                <a:cs typeface="Tahoma"/>
              </a:rPr>
              <a:t> </a:t>
            </a:r>
            <a:r>
              <a:rPr sz="1600" kern="0" spc="-13" dirty="0">
                <a:solidFill>
                  <a:srgbClr val="F5F5F5"/>
                </a:solidFill>
                <a:latin typeface="Tahoma"/>
                <a:cs typeface="Tahoma"/>
              </a:rPr>
              <a:t>birth</a:t>
            </a:r>
            <a:endParaRPr sz="1600" kern="0">
              <a:solidFill>
                <a:sysClr val="windowText" lastClr="000000"/>
              </a:solidFill>
              <a:latin typeface="Tahoma"/>
              <a:cs typeface="Tahoma"/>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8288000" h="10287000">
                <a:moveTo>
                  <a:pt x="18287998" y="10286999"/>
                </a:moveTo>
                <a:lnTo>
                  <a:pt x="0" y="10286999"/>
                </a:lnTo>
                <a:lnTo>
                  <a:pt x="0" y="0"/>
                </a:lnTo>
                <a:lnTo>
                  <a:pt x="18287998" y="0"/>
                </a:lnTo>
                <a:lnTo>
                  <a:pt x="18287998" y="10286999"/>
                </a:lnTo>
                <a:close/>
              </a:path>
            </a:pathLst>
          </a:custGeom>
          <a:solidFill>
            <a:srgbClr val="F5F5F5"/>
          </a:solidFill>
        </p:spPr>
        <p:txBody>
          <a:bodyPr wrap="square" lIns="0" tIns="0" rIns="0" bIns="0" rtlCol="0"/>
          <a:lstStyle/>
          <a:p>
            <a:pPr defTabSz="609630"/>
            <a:endParaRPr sz="1200" kern="0">
              <a:solidFill>
                <a:sysClr val="windowText" lastClr="000000"/>
              </a:solidFill>
            </a:endParaRPr>
          </a:p>
        </p:txBody>
      </p:sp>
      <p:grpSp>
        <p:nvGrpSpPr>
          <p:cNvPr id="3" name="object 3"/>
          <p:cNvGrpSpPr/>
          <p:nvPr/>
        </p:nvGrpSpPr>
        <p:grpSpPr>
          <a:xfrm>
            <a:off x="0" y="0"/>
            <a:ext cx="3935730" cy="6486313"/>
            <a:chOff x="0" y="0"/>
            <a:chExt cx="5903595" cy="9729470"/>
          </a:xfrm>
        </p:grpSpPr>
        <p:pic>
          <p:nvPicPr>
            <p:cNvPr id="4" name="object 4"/>
            <p:cNvPicPr/>
            <p:nvPr/>
          </p:nvPicPr>
          <p:blipFill>
            <a:blip r:embed="rId2" cstate="print"/>
            <a:stretch>
              <a:fillRect/>
            </a:stretch>
          </p:blipFill>
          <p:spPr>
            <a:xfrm>
              <a:off x="0" y="0"/>
              <a:ext cx="5024214" cy="5893580"/>
            </a:xfrm>
            <a:prstGeom prst="rect">
              <a:avLst/>
            </a:prstGeom>
          </p:spPr>
        </p:pic>
        <p:sp>
          <p:nvSpPr>
            <p:cNvPr id="5" name="object 5"/>
            <p:cNvSpPr/>
            <p:nvPr/>
          </p:nvSpPr>
          <p:spPr>
            <a:xfrm>
              <a:off x="373033" y="2696823"/>
              <a:ext cx="5530215" cy="7032625"/>
            </a:xfrm>
            <a:custGeom>
              <a:avLst/>
              <a:gdLst/>
              <a:ahLst/>
              <a:cxnLst/>
              <a:rect l="l" t="t" r="r" b="b"/>
              <a:pathLst>
                <a:path w="5530215" h="7032625">
                  <a:moveTo>
                    <a:pt x="5301568" y="7032599"/>
                  </a:moveTo>
                  <a:lnTo>
                    <a:pt x="228600" y="7032599"/>
                  </a:lnTo>
                  <a:lnTo>
                    <a:pt x="182529" y="7027955"/>
                  </a:lnTo>
                  <a:lnTo>
                    <a:pt x="139618" y="7014635"/>
                  </a:lnTo>
                  <a:lnTo>
                    <a:pt x="100787" y="6993558"/>
                  </a:lnTo>
                  <a:lnTo>
                    <a:pt x="66955" y="6965644"/>
                  </a:lnTo>
                  <a:lnTo>
                    <a:pt x="39041" y="6931812"/>
                  </a:lnTo>
                  <a:lnTo>
                    <a:pt x="17964" y="6892981"/>
                  </a:lnTo>
                  <a:lnTo>
                    <a:pt x="4644" y="6850071"/>
                  </a:lnTo>
                  <a:lnTo>
                    <a:pt x="0" y="6803999"/>
                  </a:lnTo>
                  <a:lnTo>
                    <a:pt x="0" y="228600"/>
                  </a:lnTo>
                  <a:lnTo>
                    <a:pt x="4644" y="182529"/>
                  </a:lnTo>
                  <a:lnTo>
                    <a:pt x="17964" y="139618"/>
                  </a:lnTo>
                  <a:lnTo>
                    <a:pt x="39041" y="100787"/>
                  </a:lnTo>
                  <a:lnTo>
                    <a:pt x="66955" y="66955"/>
                  </a:lnTo>
                  <a:lnTo>
                    <a:pt x="100787" y="39041"/>
                  </a:lnTo>
                  <a:lnTo>
                    <a:pt x="139618" y="17964"/>
                  </a:lnTo>
                  <a:lnTo>
                    <a:pt x="182529" y="4644"/>
                  </a:lnTo>
                  <a:lnTo>
                    <a:pt x="228600" y="0"/>
                  </a:lnTo>
                  <a:lnTo>
                    <a:pt x="5301568" y="0"/>
                  </a:lnTo>
                  <a:lnTo>
                    <a:pt x="5347638" y="4644"/>
                  </a:lnTo>
                  <a:lnTo>
                    <a:pt x="5390549" y="17964"/>
                  </a:lnTo>
                  <a:lnTo>
                    <a:pt x="5429380" y="39041"/>
                  </a:lnTo>
                  <a:lnTo>
                    <a:pt x="5463212" y="66955"/>
                  </a:lnTo>
                  <a:lnTo>
                    <a:pt x="5491126" y="100787"/>
                  </a:lnTo>
                  <a:lnTo>
                    <a:pt x="5512203" y="139618"/>
                  </a:lnTo>
                  <a:lnTo>
                    <a:pt x="5525523" y="182529"/>
                  </a:lnTo>
                  <a:lnTo>
                    <a:pt x="5530168" y="228600"/>
                  </a:lnTo>
                  <a:lnTo>
                    <a:pt x="5530168" y="6803999"/>
                  </a:lnTo>
                  <a:lnTo>
                    <a:pt x="5525523" y="6850071"/>
                  </a:lnTo>
                  <a:lnTo>
                    <a:pt x="5512203" y="6892981"/>
                  </a:lnTo>
                  <a:lnTo>
                    <a:pt x="5491126" y="6931812"/>
                  </a:lnTo>
                  <a:lnTo>
                    <a:pt x="5463212" y="6965644"/>
                  </a:lnTo>
                  <a:lnTo>
                    <a:pt x="5429380" y="6993558"/>
                  </a:lnTo>
                  <a:lnTo>
                    <a:pt x="5390549" y="7014635"/>
                  </a:lnTo>
                  <a:lnTo>
                    <a:pt x="5347638" y="7027955"/>
                  </a:lnTo>
                  <a:lnTo>
                    <a:pt x="5301568" y="7032599"/>
                  </a:lnTo>
                  <a:close/>
                </a:path>
              </a:pathLst>
            </a:custGeom>
            <a:solidFill>
              <a:srgbClr val="45482F"/>
            </a:solidFill>
          </p:spPr>
          <p:txBody>
            <a:bodyPr wrap="square" lIns="0" tIns="0" rIns="0" bIns="0" rtlCol="0"/>
            <a:lstStyle/>
            <a:p>
              <a:pPr defTabSz="609630"/>
              <a:endParaRPr sz="1200" kern="0">
                <a:solidFill>
                  <a:sysClr val="windowText" lastClr="000000"/>
                </a:solidFill>
              </a:endParaRPr>
            </a:p>
          </p:txBody>
        </p:sp>
        <p:pic>
          <p:nvPicPr>
            <p:cNvPr id="6" name="object 6"/>
            <p:cNvPicPr/>
            <p:nvPr/>
          </p:nvPicPr>
          <p:blipFill>
            <a:blip r:embed="rId3" cstate="print"/>
            <a:stretch>
              <a:fillRect/>
            </a:stretch>
          </p:blipFill>
          <p:spPr>
            <a:xfrm>
              <a:off x="754033" y="4171798"/>
              <a:ext cx="142875" cy="142874"/>
            </a:xfrm>
            <a:prstGeom prst="rect">
              <a:avLst/>
            </a:prstGeom>
          </p:spPr>
        </p:pic>
        <p:pic>
          <p:nvPicPr>
            <p:cNvPr id="7" name="object 7"/>
            <p:cNvPicPr/>
            <p:nvPr/>
          </p:nvPicPr>
          <p:blipFill>
            <a:blip r:embed="rId3" cstate="print"/>
            <a:stretch>
              <a:fillRect/>
            </a:stretch>
          </p:blipFill>
          <p:spPr>
            <a:xfrm>
              <a:off x="754033" y="5371948"/>
              <a:ext cx="142875" cy="142874"/>
            </a:xfrm>
            <a:prstGeom prst="rect">
              <a:avLst/>
            </a:prstGeom>
          </p:spPr>
        </p:pic>
        <p:pic>
          <p:nvPicPr>
            <p:cNvPr id="8" name="object 8"/>
            <p:cNvPicPr/>
            <p:nvPr/>
          </p:nvPicPr>
          <p:blipFill>
            <a:blip r:embed="rId3" cstate="print"/>
            <a:stretch>
              <a:fillRect/>
            </a:stretch>
          </p:blipFill>
          <p:spPr>
            <a:xfrm>
              <a:off x="754033" y="6572098"/>
              <a:ext cx="142875" cy="142874"/>
            </a:xfrm>
            <a:prstGeom prst="rect">
              <a:avLst/>
            </a:prstGeom>
          </p:spPr>
        </p:pic>
      </p:grpSp>
      <p:sp>
        <p:nvSpPr>
          <p:cNvPr id="9" name="object 9"/>
          <p:cNvSpPr txBox="1"/>
          <p:nvPr/>
        </p:nvSpPr>
        <p:spPr>
          <a:xfrm>
            <a:off x="729569" y="2576301"/>
            <a:ext cx="2865967" cy="3609600"/>
          </a:xfrm>
          <a:prstGeom prst="rect">
            <a:avLst/>
          </a:prstGeom>
        </p:spPr>
        <p:txBody>
          <a:bodyPr vert="horz" wrap="square" lIns="0" tIns="8467" rIns="0" bIns="0" rtlCol="0">
            <a:spAutoFit/>
          </a:bodyPr>
          <a:lstStyle/>
          <a:p>
            <a:pPr marL="8467" marR="253166" defTabSz="609630">
              <a:lnSpc>
                <a:spcPct val="115799"/>
              </a:lnSpc>
              <a:spcBef>
                <a:spcPts val="67"/>
              </a:spcBef>
            </a:pPr>
            <a:r>
              <a:rPr sz="2267" kern="0" dirty="0">
                <a:solidFill>
                  <a:srgbClr val="F5F5F5"/>
                </a:solidFill>
                <a:latin typeface="Tahoma"/>
                <a:cs typeface="Tahoma"/>
              </a:rPr>
              <a:t>Lower</a:t>
            </a:r>
            <a:r>
              <a:rPr sz="2267" kern="0" spc="20" dirty="0">
                <a:solidFill>
                  <a:srgbClr val="F5F5F5"/>
                </a:solidFill>
                <a:latin typeface="Tahoma"/>
                <a:cs typeface="Tahoma"/>
              </a:rPr>
              <a:t> </a:t>
            </a:r>
            <a:r>
              <a:rPr sz="2267" kern="0" dirty="0">
                <a:solidFill>
                  <a:srgbClr val="F5F5F5"/>
                </a:solidFill>
                <a:latin typeface="Tahoma"/>
                <a:cs typeface="Tahoma"/>
              </a:rPr>
              <a:t>c-section</a:t>
            </a:r>
            <a:r>
              <a:rPr sz="2267" kern="0" spc="23" dirty="0">
                <a:solidFill>
                  <a:srgbClr val="F5F5F5"/>
                </a:solidFill>
                <a:latin typeface="Tahoma"/>
                <a:cs typeface="Tahoma"/>
              </a:rPr>
              <a:t> </a:t>
            </a:r>
            <a:r>
              <a:rPr sz="2267" kern="0" spc="-13" dirty="0">
                <a:solidFill>
                  <a:srgbClr val="F5F5F5"/>
                </a:solidFill>
                <a:latin typeface="Tahoma"/>
                <a:cs typeface="Tahoma"/>
              </a:rPr>
              <a:t>rate </a:t>
            </a:r>
            <a:r>
              <a:rPr sz="2267" kern="0" spc="-237" dirty="0">
                <a:solidFill>
                  <a:srgbClr val="F5F5F5"/>
                </a:solidFill>
                <a:latin typeface="Tahoma"/>
                <a:cs typeface="Tahoma"/>
              </a:rPr>
              <a:t>(6%)</a:t>
            </a:r>
            <a:endParaRPr sz="2267" kern="0">
              <a:solidFill>
                <a:sysClr val="windowText" lastClr="000000"/>
              </a:solidFill>
              <a:latin typeface="Tahoma"/>
              <a:cs typeface="Tahoma"/>
            </a:endParaRPr>
          </a:p>
          <a:p>
            <a:pPr marL="8467" marR="3387" defTabSz="609630">
              <a:lnSpc>
                <a:spcPct val="115799"/>
              </a:lnSpc>
            </a:pPr>
            <a:r>
              <a:rPr sz="2267" kern="0" dirty="0">
                <a:solidFill>
                  <a:srgbClr val="F5F5F5"/>
                </a:solidFill>
                <a:latin typeface="Tahoma"/>
                <a:cs typeface="Tahoma"/>
              </a:rPr>
              <a:t>Lower</a:t>
            </a:r>
            <a:r>
              <a:rPr sz="2267" kern="0" spc="-87" dirty="0">
                <a:solidFill>
                  <a:srgbClr val="F5F5F5"/>
                </a:solidFill>
                <a:latin typeface="Tahoma"/>
                <a:cs typeface="Tahoma"/>
              </a:rPr>
              <a:t> </a:t>
            </a:r>
            <a:r>
              <a:rPr sz="2267" kern="0" dirty="0">
                <a:solidFill>
                  <a:srgbClr val="F5F5F5"/>
                </a:solidFill>
                <a:latin typeface="Tahoma"/>
                <a:cs typeface="Tahoma"/>
              </a:rPr>
              <a:t>transfers</a:t>
            </a:r>
            <a:r>
              <a:rPr sz="2267" kern="0" spc="-83" dirty="0">
                <a:solidFill>
                  <a:srgbClr val="F5F5F5"/>
                </a:solidFill>
                <a:latin typeface="Tahoma"/>
                <a:cs typeface="Tahoma"/>
              </a:rPr>
              <a:t> </a:t>
            </a:r>
            <a:r>
              <a:rPr sz="2267" kern="0" spc="37" dirty="0">
                <a:solidFill>
                  <a:srgbClr val="F5F5F5"/>
                </a:solidFill>
                <a:latin typeface="Tahoma"/>
                <a:cs typeface="Tahoma"/>
              </a:rPr>
              <a:t>for</a:t>
            </a:r>
            <a:r>
              <a:rPr sz="2267" kern="0" spc="-83" dirty="0">
                <a:solidFill>
                  <a:srgbClr val="F5F5F5"/>
                </a:solidFill>
                <a:latin typeface="Tahoma"/>
                <a:cs typeface="Tahoma"/>
              </a:rPr>
              <a:t> </a:t>
            </a:r>
            <a:r>
              <a:rPr sz="2267" kern="0" spc="-17" dirty="0">
                <a:solidFill>
                  <a:srgbClr val="F5F5F5"/>
                </a:solidFill>
                <a:latin typeface="Tahoma"/>
                <a:cs typeface="Tahoma"/>
              </a:rPr>
              <a:t>ER </a:t>
            </a:r>
            <a:r>
              <a:rPr sz="2267" kern="0" spc="-33" dirty="0">
                <a:solidFill>
                  <a:srgbClr val="F5F5F5"/>
                </a:solidFill>
                <a:latin typeface="Tahoma"/>
                <a:cs typeface="Tahoma"/>
              </a:rPr>
              <a:t>(16%)</a:t>
            </a:r>
            <a:endParaRPr sz="2267" kern="0">
              <a:solidFill>
                <a:sysClr val="windowText" lastClr="000000"/>
              </a:solidFill>
              <a:latin typeface="Tahoma"/>
              <a:cs typeface="Tahoma"/>
            </a:endParaRPr>
          </a:p>
          <a:p>
            <a:pPr marL="8467" marR="79591" defTabSz="609630">
              <a:lnSpc>
                <a:spcPct val="115799"/>
              </a:lnSpc>
            </a:pPr>
            <a:r>
              <a:rPr sz="2267" kern="0" spc="-7" dirty="0">
                <a:solidFill>
                  <a:srgbClr val="F5F5F5"/>
                </a:solidFill>
                <a:latin typeface="Tahoma"/>
                <a:cs typeface="Tahoma"/>
              </a:rPr>
              <a:t>Similar</a:t>
            </a:r>
            <a:r>
              <a:rPr sz="2267" kern="0" spc="-160" dirty="0">
                <a:solidFill>
                  <a:srgbClr val="F5F5F5"/>
                </a:solidFill>
                <a:latin typeface="Tahoma"/>
                <a:cs typeface="Tahoma"/>
              </a:rPr>
              <a:t> </a:t>
            </a:r>
            <a:r>
              <a:rPr sz="2267" kern="0" spc="-7" dirty="0">
                <a:solidFill>
                  <a:srgbClr val="F5F5F5"/>
                </a:solidFill>
                <a:latin typeface="Tahoma"/>
                <a:cs typeface="Tahoma"/>
              </a:rPr>
              <a:t>rates</a:t>
            </a:r>
            <a:r>
              <a:rPr sz="2267" kern="0" spc="-157" dirty="0">
                <a:solidFill>
                  <a:srgbClr val="F5F5F5"/>
                </a:solidFill>
                <a:latin typeface="Tahoma"/>
                <a:cs typeface="Tahoma"/>
              </a:rPr>
              <a:t> </a:t>
            </a:r>
            <a:r>
              <a:rPr sz="2267" kern="0" spc="-7" dirty="0">
                <a:solidFill>
                  <a:srgbClr val="F5F5F5"/>
                </a:solidFill>
                <a:latin typeface="Tahoma"/>
                <a:cs typeface="Tahoma"/>
              </a:rPr>
              <a:t>across </a:t>
            </a:r>
            <a:r>
              <a:rPr sz="2267" kern="0" dirty="0">
                <a:solidFill>
                  <a:srgbClr val="F5F5F5"/>
                </a:solidFill>
                <a:latin typeface="Tahoma"/>
                <a:cs typeface="Tahoma"/>
              </a:rPr>
              <a:t>birth</a:t>
            </a:r>
            <a:r>
              <a:rPr sz="2267" kern="0" spc="-110" dirty="0">
                <a:solidFill>
                  <a:srgbClr val="F5F5F5"/>
                </a:solidFill>
                <a:latin typeface="Tahoma"/>
                <a:cs typeface="Tahoma"/>
              </a:rPr>
              <a:t> </a:t>
            </a:r>
            <a:r>
              <a:rPr sz="2267" kern="0" dirty="0">
                <a:solidFill>
                  <a:srgbClr val="F5F5F5"/>
                </a:solidFill>
                <a:latin typeface="Tahoma"/>
                <a:cs typeface="Tahoma"/>
              </a:rPr>
              <a:t>settings</a:t>
            </a:r>
            <a:r>
              <a:rPr sz="2267" kern="0" spc="-110" dirty="0">
                <a:solidFill>
                  <a:srgbClr val="F5F5F5"/>
                </a:solidFill>
                <a:latin typeface="Tahoma"/>
                <a:cs typeface="Tahoma"/>
              </a:rPr>
              <a:t> </a:t>
            </a:r>
            <a:r>
              <a:rPr sz="2267" kern="0" spc="20" dirty="0">
                <a:solidFill>
                  <a:srgbClr val="F5F5F5"/>
                </a:solidFill>
                <a:latin typeface="Tahoma"/>
                <a:cs typeface="Tahoma"/>
              </a:rPr>
              <a:t>for </a:t>
            </a:r>
            <a:r>
              <a:rPr sz="2267" kern="0" dirty="0">
                <a:solidFill>
                  <a:srgbClr val="F5F5F5"/>
                </a:solidFill>
                <a:latin typeface="Tahoma"/>
                <a:cs typeface="Tahoma"/>
              </a:rPr>
              <a:t>stillbirth</a:t>
            </a:r>
            <a:r>
              <a:rPr sz="2267" kern="0" spc="-70" dirty="0">
                <a:solidFill>
                  <a:srgbClr val="F5F5F5"/>
                </a:solidFill>
                <a:latin typeface="Tahoma"/>
                <a:cs typeface="Tahoma"/>
              </a:rPr>
              <a:t> </a:t>
            </a:r>
            <a:r>
              <a:rPr sz="2267" kern="0" spc="-17" dirty="0">
                <a:solidFill>
                  <a:srgbClr val="F5F5F5"/>
                </a:solidFill>
                <a:latin typeface="Tahoma"/>
                <a:cs typeface="Tahoma"/>
              </a:rPr>
              <a:t>and</a:t>
            </a:r>
            <a:r>
              <a:rPr sz="2267" kern="0" spc="-70" dirty="0">
                <a:solidFill>
                  <a:srgbClr val="F5F5F5"/>
                </a:solidFill>
                <a:latin typeface="Tahoma"/>
                <a:cs typeface="Tahoma"/>
              </a:rPr>
              <a:t> </a:t>
            </a:r>
            <a:r>
              <a:rPr sz="2267" kern="0" spc="-7" dirty="0">
                <a:solidFill>
                  <a:srgbClr val="F5F5F5"/>
                </a:solidFill>
                <a:latin typeface="Tahoma"/>
                <a:cs typeface="Tahoma"/>
              </a:rPr>
              <a:t>newborn deaths</a:t>
            </a:r>
            <a:r>
              <a:rPr sz="2267" kern="0" spc="-136" dirty="0">
                <a:solidFill>
                  <a:srgbClr val="F5F5F5"/>
                </a:solidFill>
                <a:latin typeface="Tahoma"/>
                <a:cs typeface="Tahoma"/>
              </a:rPr>
              <a:t> </a:t>
            </a:r>
            <a:r>
              <a:rPr sz="2267" kern="0" spc="37" dirty="0">
                <a:solidFill>
                  <a:srgbClr val="F5F5F5"/>
                </a:solidFill>
                <a:latin typeface="Tahoma"/>
                <a:cs typeface="Tahoma"/>
              </a:rPr>
              <a:t>for</a:t>
            </a:r>
            <a:r>
              <a:rPr sz="2267" kern="0" spc="-133" dirty="0">
                <a:solidFill>
                  <a:srgbClr val="F5F5F5"/>
                </a:solidFill>
                <a:latin typeface="Tahoma"/>
                <a:cs typeface="Tahoma"/>
              </a:rPr>
              <a:t> </a:t>
            </a:r>
            <a:r>
              <a:rPr sz="2267" kern="0" spc="47" dirty="0">
                <a:solidFill>
                  <a:srgbClr val="F5F5F5"/>
                </a:solidFill>
                <a:latin typeface="Tahoma"/>
                <a:cs typeface="Tahoma"/>
              </a:rPr>
              <a:t>low</a:t>
            </a:r>
            <a:r>
              <a:rPr sz="2267" kern="0" spc="-133" dirty="0">
                <a:solidFill>
                  <a:srgbClr val="F5F5F5"/>
                </a:solidFill>
                <a:latin typeface="Tahoma"/>
                <a:cs typeface="Tahoma"/>
              </a:rPr>
              <a:t> </a:t>
            </a:r>
            <a:r>
              <a:rPr sz="2267" kern="0" spc="-13" dirty="0">
                <a:solidFill>
                  <a:srgbClr val="F5F5F5"/>
                </a:solidFill>
                <a:latin typeface="Tahoma"/>
                <a:cs typeface="Tahoma"/>
              </a:rPr>
              <a:t>risk </a:t>
            </a:r>
            <a:r>
              <a:rPr sz="2267" kern="0" spc="-7" dirty="0">
                <a:solidFill>
                  <a:srgbClr val="F5F5F5"/>
                </a:solidFill>
                <a:latin typeface="Tahoma"/>
                <a:cs typeface="Tahoma"/>
              </a:rPr>
              <a:t>pregnancies</a:t>
            </a:r>
            <a:endParaRPr sz="2267" kern="0">
              <a:solidFill>
                <a:sysClr val="windowText" lastClr="000000"/>
              </a:solidFill>
              <a:latin typeface="Tahoma"/>
              <a:cs typeface="Tahoma"/>
            </a:endParaRPr>
          </a:p>
        </p:txBody>
      </p:sp>
      <p:sp>
        <p:nvSpPr>
          <p:cNvPr id="10" name="object 10"/>
          <p:cNvSpPr txBox="1">
            <a:spLocks noGrp="1"/>
          </p:cNvSpPr>
          <p:nvPr>
            <p:ph type="title"/>
          </p:nvPr>
        </p:nvSpPr>
        <p:spPr>
          <a:xfrm>
            <a:off x="2537991" y="32920"/>
            <a:ext cx="8882803" cy="1786814"/>
          </a:xfrm>
          <a:prstGeom prst="rect">
            <a:avLst/>
          </a:prstGeom>
        </p:spPr>
        <p:txBody>
          <a:bodyPr vert="horz" wrap="square" lIns="0" tIns="93133" rIns="0" bIns="0" rtlCol="0">
            <a:spAutoFit/>
          </a:bodyPr>
          <a:lstStyle/>
          <a:p>
            <a:pPr marL="8467" marR="3387">
              <a:lnSpc>
                <a:spcPts val="6600"/>
              </a:lnSpc>
              <a:spcBef>
                <a:spcPts val="733"/>
              </a:spcBef>
            </a:pPr>
            <a:r>
              <a:rPr dirty="0"/>
              <a:t>Midwife-</a:t>
            </a:r>
            <a:r>
              <a:rPr spc="63" dirty="0"/>
              <a:t>led</a:t>
            </a:r>
            <a:r>
              <a:rPr spc="-400" dirty="0"/>
              <a:t> </a:t>
            </a:r>
            <a:r>
              <a:rPr spc="310" dirty="0"/>
              <a:t>Birth</a:t>
            </a:r>
            <a:r>
              <a:rPr spc="-400" dirty="0"/>
              <a:t> </a:t>
            </a:r>
            <a:r>
              <a:rPr spc="230" dirty="0"/>
              <a:t>Center </a:t>
            </a:r>
            <a:r>
              <a:rPr spc="-110" dirty="0"/>
              <a:t>Model</a:t>
            </a:r>
            <a:r>
              <a:rPr spc="-407" dirty="0"/>
              <a:t> </a:t>
            </a:r>
            <a:r>
              <a:rPr spc="123" dirty="0"/>
              <a:t>of</a:t>
            </a:r>
            <a:r>
              <a:rPr spc="-403" dirty="0"/>
              <a:t> </a:t>
            </a:r>
            <a:r>
              <a:rPr spc="220" dirty="0"/>
              <a:t>Care</a:t>
            </a:r>
          </a:p>
        </p:txBody>
      </p:sp>
      <p:sp>
        <p:nvSpPr>
          <p:cNvPr id="11" name="object 11"/>
          <p:cNvSpPr/>
          <p:nvPr/>
        </p:nvSpPr>
        <p:spPr>
          <a:xfrm>
            <a:off x="8844236" y="1013034"/>
            <a:ext cx="673100" cy="673100"/>
          </a:xfrm>
          <a:custGeom>
            <a:avLst/>
            <a:gdLst/>
            <a:ahLst/>
            <a:cxnLst/>
            <a:rect l="l" t="t" r="r" b="b"/>
            <a:pathLst>
              <a:path w="1009650" h="1009650">
                <a:moveTo>
                  <a:pt x="504677" y="1009354"/>
                </a:moveTo>
                <a:lnTo>
                  <a:pt x="456074" y="1007044"/>
                </a:lnTo>
                <a:lnTo>
                  <a:pt x="408777" y="1000254"/>
                </a:lnTo>
                <a:lnTo>
                  <a:pt x="362999" y="989196"/>
                </a:lnTo>
                <a:lnTo>
                  <a:pt x="318951" y="974082"/>
                </a:lnTo>
                <a:lnTo>
                  <a:pt x="276845" y="955122"/>
                </a:lnTo>
                <a:lnTo>
                  <a:pt x="236892" y="932529"/>
                </a:lnTo>
                <a:lnTo>
                  <a:pt x="199303" y="906514"/>
                </a:lnTo>
                <a:lnTo>
                  <a:pt x="164291" y="877288"/>
                </a:lnTo>
                <a:lnTo>
                  <a:pt x="132066" y="845063"/>
                </a:lnTo>
                <a:lnTo>
                  <a:pt x="102840" y="810051"/>
                </a:lnTo>
                <a:lnTo>
                  <a:pt x="76825" y="772462"/>
                </a:lnTo>
                <a:lnTo>
                  <a:pt x="54232" y="732509"/>
                </a:lnTo>
                <a:lnTo>
                  <a:pt x="35272" y="690403"/>
                </a:lnTo>
                <a:lnTo>
                  <a:pt x="20158" y="646355"/>
                </a:lnTo>
                <a:lnTo>
                  <a:pt x="9100" y="600577"/>
                </a:lnTo>
                <a:lnTo>
                  <a:pt x="2310" y="553280"/>
                </a:lnTo>
                <a:lnTo>
                  <a:pt x="0" y="504677"/>
                </a:lnTo>
                <a:lnTo>
                  <a:pt x="2310" y="456073"/>
                </a:lnTo>
                <a:lnTo>
                  <a:pt x="9100" y="408776"/>
                </a:lnTo>
                <a:lnTo>
                  <a:pt x="20158" y="362998"/>
                </a:lnTo>
                <a:lnTo>
                  <a:pt x="35272" y="318950"/>
                </a:lnTo>
                <a:lnTo>
                  <a:pt x="54232" y="276844"/>
                </a:lnTo>
                <a:lnTo>
                  <a:pt x="76825" y="236891"/>
                </a:lnTo>
                <a:lnTo>
                  <a:pt x="102840" y="199303"/>
                </a:lnTo>
                <a:lnTo>
                  <a:pt x="132066" y="164290"/>
                </a:lnTo>
                <a:lnTo>
                  <a:pt x="164291" y="132065"/>
                </a:lnTo>
                <a:lnTo>
                  <a:pt x="199303" y="102840"/>
                </a:lnTo>
                <a:lnTo>
                  <a:pt x="236892" y="76824"/>
                </a:lnTo>
                <a:lnTo>
                  <a:pt x="276845" y="54231"/>
                </a:lnTo>
                <a:lnTo>
                  <a:pt x="318951" y="35272"/>
                </a:lnTo>
                <a:lnTo>
                  <a:pt x="362999" y="20157"/>
                </a:lnTo>
                <a:lnTo>
                  <a:pt x="408777" y="9100"/>
                </a:lnTo>
                <a:lnTo>
                  <a:pt x="456074" y="2310"/>
                </a:lnTo>
                <a:lnTo>
                  <a:pt x="504677" y="0"/>
                </a:lnTo>
                <a:lnTo>
                  <a:pt x="553281" y="2310"/>
                </a:lnTo>
                <a:lnTo>
                  <a:pt x="600578" y="9100"/>
                </a:lnTo>
                <a:lnTo>
                  <a:pt x="646355" y="20157"/>
                </a:lnTo>
                <a:lnTo>
                  <a:pt x="690403" y="35272"/>
                </a:lnTo>
                <a:lnTo>
                  <a:pt x="732509" y="54231"/>
                </a:lnTo>
                <a:lnTo>
                  <a:pt x="772462" y="76824"/>
                </a:lnTo>
                <a:lnTo>
                  <a:pt x="810051" y="102840"/>
                </a:lnTo>
                <a:lnTo>
                  <a:pt x="845063" y="132065"/>
                </a:lnTo>
                <a:lnTo>
                  <a:pt x="877288" y="164290"/>
                </a:lnTo>
                <a:lnTo>
                  <a:pt x="906514" y="199303"/>
                </a:lnTo>
                <a:lnTo>
                  <a:pt x="932529" y="236891"/>
                </a:lnTo>
                <a:lnTo>
                  <a:pt x="955122" y="276844"/>
                </a:lnTo>
                <a:lnTo>
                  <a:pt x="974081" y="318950"/>
                </a:lnTo>
                <a:lnTo>
                  <a:pt x="989195" y="362998"/>
                </a:lnTo>
                <a:lnTo>
                  <a:pt x="1000253" y="408776"/>
                </a:lnTo>
                <a:lnTo>
                  <a:pt x="1007043" y="456073"/>
                </a:lnTo>
                <a:lnTo>
                  <a:pt x="1009353" y="504677"/>
                </a:lnTo>
                <a:lnTo>
                  <a:pt x="1007043" y="553280"/>
                </a:lnTo>
                <a:lnTo>
                  <a:pt x="1000253" y="600577"/>
                </a:lnTo>
                <a:lnTo>
                  <a:pt x="989195" y="646355"/>
                </a:lnTo>
                <a:lnTo>
                  <a:pt x="974081" y="690403"/>
                </a:lnTo>
                <a:lnTo>
                  <a:pt x="955122" y="732509"/>
                </a:lnTo>
                <a:lnTo>
                  <a:pt x="932529" y="772462"/>
                </a:lnTo>
                <a:lnTo>
                  <a:pt x="906514" y="810051"/>
                </a:lnTo>
                <a:lnTo>
                  <a:pt x="877288" y="845063"/>
                </a:lnTo>
                <a:lnTo>
                  <a:pt x="845063" y="877288"/>
                </a:lnTo>
                <a:lnTo>
                  <a:pt x="810051" y="906514"/>
                </a:lnTo>
                <a:lnTo>
                  <a:pt x="772462" y="932529"/>
                </a:lnTo>
                <a:lnTo>
                  <a:pt x="732509" y="955122"/>
                </a:lnTo>
                <a:lnTo>
                  <a:pt x="690403" y="974082"/>
                </a:lnTo>
                <a:lnTo>
                  <a:pt x="646355" y="989196"/>
                </a:lnTo>
                <a:lnTo>
                  <a:pt x="600578" y="1000254"/>
                </a:lnTo>
                <a:lnTo>
                  <a:pt x="553281" y="1007044"/>
                </a:lnTo>
                <a:lnTo>
                  <a:pt x="504677" y="1009354"/>
                </a:lnTo>
                <a:close/>
              </a:path>
            </a:pathLst>
          </a:custGeom>
          <a:solidFill>
            <a:srgbClr val="898B6B"/>
          </a:solidFill>
        </p:spPr>
        <p:txBody>
          <a:bodyPr wrap="square" lIns="0" tIns="0" rIns="0" bIns="0" rtlCol="0"/>
          <a:lstStyle/>
          <a:p>
            <a:pPr defTabSz="609630"/>
            <a:endParaRPr sz="1200" kern="0">
              <a:solidFill>
                <a:sysClr val="windowText" lastClr="000000"/>
              </a:solidFill>
            </a:endParaRPr>
          </a:p>
        </p:txBody>
      </p:sp>
      <p:sp>
        <p:nvSpPr>
          <p:cNvPr id="12" name="object 12"/>
          <p:cNvSpPr/>
          <p:nvPr/>
        </p:nvSpPr>
        <p:spPr>
          <a:xfrm>
            <a:off x="8256889" y="1797882"/>
            <a:ext cx="3686810" cy="4688417"/>
          </a:xfrm>
          <a:custGeom>
            <a:avLst/>
            <a:gdLst/>
            <a:ahLst/>
            <a:cxnLst/>
            <a:rect l="l" t="t" r="r" b="b"/>
            <a:pathLst>
              <a:path w="5530215" h="7032625">
                <a:moveTo>
                  <a:pt x="5301567" y="7032599"/>
                </a:moveTo>
                <a:lnTo>
                  <a:pt x="228600" y="7032599"/>
                </a:lnTo>
                <a:lnTo>
                  <a:pt x="182529" y="7027955"/>
                </a:lnTo>
                <a:lnTo>
                  <a:pt x="139618" y="7014635"/>
                </a:lnTo>
                <a:lnTo>
                  <a:pt x="100787" y="6993558"/>
                </a:lnTo>
                <a:lnTo>
                  <a:pt x="66955" y="6965644"/>
                </a:lnTo>
                <a:lnTo>
                  <a:pt x="39041" y="6931812"/>
                </a:lnTo>
                <a:lnTo>
                  <a:pt x="17964" y="6892981"/>
                </a:lnTo>
                <a:lnTo>
                  <a:pt x="4644" y="6850071"/>
                </a:lnTo>
                <a:lnTo>
                  <a:pt x="0" y="6803999"/>
                </a:lnTo>
                <a:lnTo>
                  <a:pt x="0" y="228600"/>
                </a:lnTo>
                <a:lnTo>
                  <a:pt x="4644" y="182529"/>
                </a:lnTo>
                <a:lnTo>
                  <a:pt x="17964" y="139618"/>
                </a:lnTo>
                <a:lnTo>
                  <a:pt x="39041" y="100787"/>
                </a:lnTo>
                <a:lnTo>
                  <a:pt x="66955" y="66955"/>
                </a:lnTo>
                <a:lnTo>
                  <a:pt x="100787" y="39041"/>
                </a:lnTo>
                <a:lnTo>
                  <a:pt x="139618" y="17964"/>
                </a:lnTo>
                <a:lnTo>
                  <a:pt x="182529" y="4644"/>
                </a:lnTo>
                <a:lnTo>
                  <a:pt x="228600" y="0"/>
                </a:lnTo>
                <a:lnTo>
                  <a:pt x="5301567" y="0"/>
                </a:lnTo>
                <a:lnTo>
                  <a:pt x="5347638" y="4644"/>
                </a:lnTo>
                <a:lnTo>
                  <a:pt x="5390548" y="17964"/>
                </a:lnTo>
                <a:lnTo>
                  <a:pt x="5429379" y="39041"/>
                </a:lnTo>
                <a:lnTo>
                  <a:pt x="5463212" y="66955"/>
                </a:lnTo>
                <a:lnTo>
                  <a:pt x="5491126" y="100787"/>
                </a:lnTo>
                <a:lnTo>
                  <a:pt x="5512202" y="139618"/>
                </a:lnTo>
                <a:lnTo>
                  <a:pt x="5525523" y="182529"/>
                </a:lnTo>
                <a:lnTo>
                  <a:pt x="5530167" y="228600"/>
                </a:lnTo>
                <a:lnTo>
                  <a:pt x="5530167" y="6803999"/>
                </a:lnTo>
                <a:lnTo>
                  <a:pt x="5525523" y="6850071"/>
                </a:lnTo>
                <a:lnTo>
                  <a:pt x="5512202" y="6892981"/>
                </a:lnTo>
                <a:lnTo>
                  <a:pt x="5491126" y="6931812"/>
                </a:lnTo>
                <a:lnTo>
                  <a:pt x="5463212" y="6965644"/>
                </a:lnTo>
                <a:lnTo>
                  <a:pt x="5429379" y="6993558"/>
                </a:lnTo>
                <a:lnTo>
                  <a:pt x="5390548" y="7014635"/>
                </a:lnTo>
                <a:lnTo>
                  <a:pt x="5347638" y="7027955"/>
                </a:lnTo>
                <a:lnTo>
                  <a:pt x="5301567" y="7032599"/>
                </a:lnTo>
                <a:close/>
              </a:path>
            </a:pathLst>
          </a:custGeom>
          <a:solidFill>
            <a:srgbClr val="45482F"/>
          </a:solidFill>
        </p:spPr>
        <p:txBody>
          <a:bodyPr wrap="square" lIns="0" tIns="0" rIns="0" bIns="0" rtlCol="0"/>
          <a:lstStyle/>
          <a:p>
            <a:pPr defTabSz="609630"/>
            <a:endParaRPr sz="1200" kern="0">
              <a:solidFill>
                <a:sysClr val="windowText" lastClr="000000"/>
              </a:solidFill>
            </a:endParaRPr>
          </a:p>
        </p:txBody>
      </p:sp>
      <p:grpSp>
        <p:nvGrpSpPr>
          <p:cNvPr id="13" name="object 13"/>
          <p:cNvGrpSpPr/>
          <p:nvPr/>
        </p:nvGrpSpPr>
        <p:grpSpPr>
          <a:xfrm>
            <a:off x="4252611" y="1797882"/>
            <a:ext cx="3686810" cy="4688417"/>
            <a:chOff x="6378916" y="2696823"/>
            <a:chExt cx="5530215" cy="7032625"/>
          </a:xfrm>
        </p:grpSpPr>
        <p:sp>
          <p:nvSpPr>
            <p:cNvPr id="14" name="object 14"/>
            <p:cNvSpPr/>
            <p:nvPr/>
          </p:nvSpPr>
          <p:spPr>
            <a:xfrm>
              <a:off x="6378916" y="2696823"/>
              <a:ext cx="5530215" cy="7032625"/>
            </a:xfrm>
            <a:custGeom>
              <a:avLst/>
              <a:gdLst/>
              <a:ahLst/>
              <a:cxnLst/>
              <a:rect l="l" t="t" r="r" b="b"/>
              <a:pathLst>
                <a:path w="5530215" h="7032625">
                  <a:moveTo>
                    <a:pt x="5301568" y="7032599"/>
                  </a:moveTo>
                  <a:lnTo>
                    <a:pt x="228600" y="7032599"/>
                  </a:lnTo>
                  <a:lnTo>
                    <a:pt x="182529" y="7027955"/>
                  </a:lnTo>
                  <a:lnTo>
                    <a:pt x="139618" y="7014635"/>
                  </a:lnTo>
                  <a:lnTo>
                    <a:pt x="100787" y="6993558"/>
                  </a:lnTo>
                  <a:lnTo>
                    <a:pt x="66955" y="6965644"/>
                  </a:lnTo>
                  <a:lnTo>
                    <a:pt x="39041" y="6931812"/>
                  </a:lnTo>
                  <a:lnTo>
                    <a:pt x="17964" y="6892981"/>
                  </a:lnTo>
                  <a:lnTo>
                    <a:pt x="4644" y="6850071"/>
                  </a:lnTo>
                  <a:lnTo>
                    <a:pt x="0" y="6803999"/>
                  </a:lnTo>
                  <a:lnTo>
                    <a:pt x="0" y="228600"/>
                  </a:lnTo>
                  <a:lnTo>
                    <a:pt x="4644" y="182529"/>
                  </a:lnTo>
                  <a:lnTo>
                    <a:pt x="17964" y="139618"/>
                  </a:lnTo>
                  <a:lnTo>
                    <a:pt x="39041" y="100787"/>
                  </a:lnTo>
                  <a:lnTo>
                    <a:pt x="66955" y="66955"/>
                  </a:lnTo>
                  <a:lnTo>
                    <a:pt x="100787" y="39041"/>
                  </a:lnTo>
                  <a:lnTo>
                    <a:pt x="139618" y="17964"/>
                  </a:lnTo>
                  <a:lnTo>
                    <a:pt x="182529" y="4644"/>
                  </a:lnTo>
                  <a:lnTo>
                    <a:pt x="228600" y="0"/>
                  </a:lnTo>
                  <a:lnTo>
                    <a:pt x="5301568" y="0"/>
                  </a:lnTo>
                  <a:lnTo>
                    <a:pt x="5347639" y="4644"/>
                  </a:lnTo>
                  <a:lnTo>
                    <a:pt x="5390549" y="17964"/>
                  </a:lnTo>
                  <a:lnTo>
                    <a:pt x="5429380" y="39041"/>
                  </a:lnTo>
                  <a:lnTo>
                    <a:pt x="5463212" y="66955"/>
                  </a:lnTo>
                  <a:lnTo>
                    <a:pt x="5491126" y="100787"/>
                  </a:lnTo>
                  <a:lnTo>
                    <a:pt x="5512203" y="139618"/>
                  </a:lnTo>
                  <a:lnTo>
                    <a:pt x="5525523" y="182529"/>
                  </a:lnTo>
                  <a:lnTo>
                    <a:pt x="5530168" y="228600"/>
                  </a:lnTo>
                  <a:lnTo>
                    <a:pt x="5530168" y="6803999"/>
                  </a:lnTo>
                  <a:lnTo>
                    <a:pt x="5525523" y="6850071"/>
                  </a:lnTo>
                  <a:lnTo>
                    <a:pt x="5512203" y="6892981"/>
                  </a:lnTo>
                  <a:lnTo>
                    <a:pt x="5491126" y="6931812"/>
                  </a:lnTo>
                  <a:lnTo>
                    <a:pt x="5463212" y="6965644"/>
                  </a:lnTo>
                  <a:lnTo>
                    <a:pt x="5429380" y="6993558"/>
                  </a:lnTo>
                  <a:lnTo>
                    <a:pt x="5390549" y="7014635"/>
                  </a:lnTo>
                  <a:lnTo>
                    <a:pt x="5347639" y="7027955"/>
                  </a:lnTo>
                  <a:lnTo>
                    <a:pt x="5301568" y="7032599"/>
                  </a:lnTo>
                  <a:close/>
                </a:path>
              </a:pathLst>
            </a:custGeom>
            <a:solidFill>
              <a:srgbClr val="45482F"/>
            </a:solidFill>
          </p:spPr>
          <p:txBody>
            <a:bodyPr wrap="square" lIns="0" tIns="0" rIns="0" bIns="0" rtlCol="0"/>
            <a:lstStyle/>
            <a:p>
              <a:pPr defTabSz="609630"/>
              <a:endParaRPr sz="1200" kern="0">
                <a:solidFill>
                  <a:sysClr val="windowText" lastClr="000000"/>
                </a:solidFill>
              </a:endParaRPr>
            </a:p>
          </p:txBody>
        </p:sp>
        <p:pic>
          <p:nvPicPr>
            <p:cNvPr id="15" name="object 15"/>
            <p:cNvPicPr/>
            <p:nvPr/>
          </p:nvPicPr>
          <p:blipFill>
            <a:blip r:embed="rId4" cstate="print"/>
            <a:stretch>
              <a:fillRect/>
            </a:stretch>
          </p:blipFill>
          <p:spPr>
            <a:xfrm>
              <a:off x="6759915" y="4020985"/>
              <a:ext cx="133350" cy="133349"/>
            </a:xfrm>
            <a:prstGeom prst="rect">
              <a:avLst/>
            </a:prstGeom>
          </p:spPr>
        </p:pic>
        <p:pic>
          <p:nvPicPr>
            <p:cNvPr id="16" name="object 16"/>
            <p:cNvPicPr/>
            <p:nvPr/>
          </p:nvPicPr>
          <p:blipFill>
            <a:blip r:embed="rId4" cstate="print"/>
            <a:stretch>
              <a:fillRect/>
            </a:stretch>
          </p:blipFill>
          <p:spPr>
            <a:xfrm>
              <a:off x="6759915" y="5183035"/>
              <a:ext cx="133350" cy="133349"/>
            </a:xfrm>
            <a:prstGeom prst="rect">
              <a:avLst/>
            </a:prstGeom>
          </p:spPr>
        </p:pic>
        <p:pic>
          <p:nvPicPr>
            <p:cNvPr id="17" name="object 17"/>
            <p:cNvPicPr/>
            <p:nvPr/>
          </p:nvPicPr>
          <p:blipFill>
            <a:blip r:embed="rId4" cstate="print"/>
            <a:stretch>
              <a:fillRect/>
            </a:stretch>
          </p:blipFill>
          <p:spPr>
            <a:xfrm>
              <a:off x="6759915" y="5764060"/>
              <a:ext cx="133350" cy="133349"/>
            </a:xfrm>
            <a:prstGeom prst="rect">
              <a:avLst/>
            </a:prstGeom>
          </p:spPr>
        </p:pic>
        <p:pic>
          <p:nvPicPr>
            <p:cNvPr id="18" name="object 18"/>
            <p:cNvPicPr/>
            <p:nvPr/>
          </p:nvPicPr>
          <p:blipFill>
            <a:blip r:embed="rId4" cstate="print"/>
            <a:stretch>
              <a:fillRect/>
            </a:stretch>
          </p:blipFill>
          <p:spPr>
            <a:xfrm>
              <a:off x="6759915" y="6345085"/>
              <a:ext cx="133350" cy="133349"/>
            </a:xfrm>
            <a:prstGeom prst="rect">
              <a:avLst/>
            </a:prstGeom>
          </p:spPr>
        </p:pic>
        <p:pic>
          <p:nvPicPr>
            <p:cNvPr id="19" name="object 19"/>
            <p:cNvPicPr/>
            <p:nvPr/>
          </p:nvPicPr>
          <p:blipFill>
            <a:blip r:embed="rId4" cstate="print"/>
            <a:stretch>
              <a:fillRect/>
            </a:stretch>
          </p:blipFill>
          <p:spPr>
            <a:xfrm>
              <a:off x="6759915" y="6926110"/>
              <a:ext cx="133350" cy="133349"/>
            </a:xfrm>
            <a:prstGeom prst="rect">
              <a:avLst/>
            </a:prstGeom>
          </p:spPr>
        </p:pic>
        <p:pic>
          <p:nvPicPr>
            <p:cNvPr id="20" name="object 20"/>
            <p:cNvPicPr/>
            <p:nvPr/>
          </p:nvPicPr>
          <p:blipFill>
            <a:blip r:embed="rId4" cstate="print"/>
            <a:stretch>
              <a:fillRect/>
            </a:stretch>
          </p:blipFill>
          <p:spPr>
            <a:xfrm>
              <a:off x="6759915" y="7507135"/>
              <a:ext cx="133350" cy="133349"/>
            </a:xfrm>
            <a:prstGeom prst="rect">
              <a:avLst/>
            </a:prstGeom>
          </p:spPr>
        </p:pic>
        <p:pic>
          <p:nvPicPr>
            <p:cNvPr id="21" name="object 21"/>
            <p:cNvPicPr/>
            <p:nvPr/>
          </p:nvPicPr>
          <p:blipFill>
            <a:blip r:embed="rId4" cstate="print"/>
            <a:stretch>
              <a:fillRect/>
            </a:stretch>
          </p:blipFill>
          <p:spPr>
            <a:xfrm>
              <a:off x="6759915" y="8088160"/>
              <a:ext cx="133350" cy="133349"/>
            </a:xfrm>
            <a:prstGeom prst="rect">
              <a:avLst/>
            </a:prstGeom>
          </p:spPr>
        </p:pic>
        <p:pic>
          <p:nvPicPr>
            <p:cNvPr id="22" name="object 22"/>
            <p:cNvPicPr/>
            <p:nvPr/>
          </p:nvPicPr>
          <p:blipFill>
            <a:blip r:embed="rId4" cstate="print"/>
            <a:stretch>
              <a:fillRect/>
            </a:stretch>
          </p:blipFill>
          <p:spPr>
            <a:xfrm>
              <a:off x="6759915" y="9250210"/>
              <a:ext cx="133350" cy="133349"/>
            </a:xfrm>
            <a:prstGeom prst="rect">
              <a:avLst/>
            </a:prstGeom>
          </p:spPr>
        </p:pic>
      </p:grpSp>
      <p:sp>
        <p:nvSpPr>
          <p:cNvPr id="23" name="object 23"/>
          <p:cNvSpPr txBox="1"/>
          <p:nvPr/>
        </p:nvSpPr>
        <p:spPr>
          <a:xfrm>
            <a:off x="9562382" y="1797034"/>
            <a:ext cx="992293" cy="418983"/>
          </a:xfrm>
          <a:prstGeom prst="rect">
            <a:avLst/>
          </a:prstGeom>
        </p:spPr>
        <p:txBody>
          <a:bodyPr vert="horz" wrap="square" lIns="0" tIns="8467" rIns="0" bIns="0" rtlCol="0">
            <a:spAutoFit/>
          </a:bodyPr>
          <a:lstStyle/>
          <a:p>
            <a:pPr marL="8467" defTabSz="609630">
              <a:spcBef>
                <a:spcPts val="67"/>
              </a:spcBef>
            </a:pPr>
            <a:r>
              <a:rPr sz="2667" b="1" kern="0" spc="-213" dirty="0">
                <a:solidFill>
                  <a:srgbClr val="F5F5F5"/>
                </a:solidFill>
                <a:latin typeface="Tahoma"/>
                <a:cs typeface="Tahoma"/>
              </a:rPr>
              <a:t>Illinois</a:t>
            </a:r>
            <a:endParaRPr sz="2667" kern="0">
              <a:solidFill>
                <a:sysClr val="windowText" lastClr="000000"/>
              </a:solidFill>
              <a:latin typeface="Tahoma"/>
              <a:cs typeface="Tahoma"/>
            </a:endParaRPr>
          </a:p>
        </p:txBody>
      </p:sp>
      <p:sp>
        <p:nvSpPr>
          <p:cNvPr id="24" name="object 24"/>
          <p:cNvSpPr txBox="1"/>
          <p:nvPr/>
        </p:nvSpPr>
        <p:spPr>
          <a:xfrm>
            <a:off x="4719103" y="1797034"/>
            <a:ext cx="3012440" cy="4609874"/>
          </a:xfrm>
          <a:prstGeom prst="rect">
            <a:avLst/>
          </a:prstGeom>
        </p:spPr>
        <p:txBody>
          <a:bodyPr vert="horz" wrap="square" lIns="0" tIns="8467" rIns="0" bIns="0" rtlCol="0">
            <a:spAutoFit/>
          </a:bodyPr>
          <a:lstStyle/>
          <a:p>
            <a:pPr marL="298888" defTabSz="609630">
              <a:spcBef>
                <a:spcPts val="67"/>
              </a:spcBef>
            </a:pPr>
            <a:r>
              <a:rPr sz="2667" b="1" kern="0" spc="-110" dirty="0">
                <a:solidFill>
                  <a:srgbClr val="F5F5F5"/>
                </a:solidFill>
                <a:latin typeface="Tahoma"/>
                <a:cs typeface="Tahoma"/>
              </a:rPr>
              <a:t>Model</a:t>
            </a:r>
            <a:r>
              <a:rPr sz="2667" b="1" kern="0" spc="-117" dirty="0">
                <a:solidFill>
                  <a:srgbClr val="F5F5F5"/>
                </a:solidFill>
                <a:latin typeface="Tahoma"/>
                <a:cs typeface="Tahoma"/>
              </a:rPr>
              <a:t> </a:t>
            </a:r>
            <a:r>
              <a:rPr sz="2667" b="1" kern="0" spc="-103" dirty="0">
                <a:solidFill>
                  <a:srgbClr val="F5F5F5"/>
                </a:solidFill>
                <a:latin typeface="Tahoma"/>
                <a:cs typeface="Tahoma"/>
              </a:rPr>
              <a:t>of</a:t>
            </a:r>
            <a:r>
              <a:rPr sz="2667" b="1" kern="0" spc="-113" dirty="0">
                <a:solidFill>
                  <a:srgbClr val="F5F5F5"/>
                </a:solidFill>
                <a:latin typeface="Tahoma"/>
                <a:cs typeface="Tahoma"/>
              </a:rPr>
              <a:t> </a:t>
            </a:r>
            <a:r>
              <a:rPr sz="2667" b="1" kern="0" spc="-13" dirty="0">
                <a:solidFill>
                  <a:srgbClr val="F5F5F5"/>
                </a:solidFill>
                <a:latin typeface="Tahoma"/>
                <a:cs typeface="Tahoma"/>
              </a:rPr>
              <a:t>Care</a:t>
            </a:r>
            <a:endParaRPr sz="2667" kern="0">
              <a:solidFill>
                <a:sysClr val="windowText" lastClr="000000"/>
              </a:solidFill>
              <a:latin typeface="Tahoma"/>
              <a:cs typeface="Tahoma"/>
            </a:endParaRPr>
          </a:p>
          <a:p>
            <a:pPr marL="8467" marR="522843" defTabSz="609630">
              <a:lnSpc>
                <a:spcPct val="115500"/>
              </a:lnSpc>
              <a:spcBef>
                <a:spcPts val="2130"/>
              </a:spcBef>
            </a:pPr>
            <a:r>
              <a:rPr sz="2200" kern="0" dirty="0">
                <a:solidFill>
                  <a:srgbClr val="F5F5F5"/>
                </a:solidFill>
                <a:latin typeface="Tahoma"/>
                <a:cs typeface="Tahoma"/>
              </a:rPr>
              <a:t>“Wellness”</a:t>
            </a:r>
            <a:r>
              <a:rPr sz="2200" kern="0" spc="-83" dirty="0">
                <a:solidFill>
                  <a:srgbClr val="F5F5F5"/>
                </a:solidFill>
                <a:latin typeface="Tahoma"/>
                <a:cs typeface="Tahoma"/>
              </a:rPr>
              <a:t> </a:t>
            </a:r>
            <a:r>
              <a:rPr sz="2200" kern="0" dirty="0">
                <a:solidFill>
                  <a:srgbClr val="F5F5F5"/>
                </a:solidFill>
                <a:latin typeface="Tahoma"/>
                <a:cs typeface="Tahoma"/>
              </a:rPr>
              <a:t>model</a:t>
            </a:r>
            <a:r>
              <a:rPr sz="2200" kern="0" spc="-83" dirty="0">
                <a:solidFill>
                  <a:srgbClr val="F5F5F5"/>
                </a:solidFill>
                <a:latin typeface="Tahoma"/>
                <a:cs typeface="Tahoma"/>
              </a:rPr>
              <a:t> </a:t>
            </a:r>
            <a:r>
              <a:rPr sz="2200" kern="0" spc="40" dirty="0">
                <a:solidFill>
                  <a:srgbClr val="F5F5F5"/>
                </a:solidFill>
                <a:latin typeface="Tahoma"/>
                <a:cs typeface="Tahoma"/>
              </a:rPr>
              <a:t>of </a:t>
            </a:r>
            <a:r>
              <a:rPr sz="2200" kern="0" spc="-13" dirty="0">
                <a:solidFill>
                  <a:srgbClr val="F5F5F5"/>
                </a:solidFill>
                <a:latin typeface="Tahoma"/>
                <a:cs typeface="Tahoma"/>
              </a:rPr>
              <a:t>care</a:t>
            </a:r>
            <a:endParaRPr sz="2200" kern="0">
              <a:solidFill>
                <a:sysClr val="windowText" lastClr="000000"/>
              </a:solidFill>
              <a:latin typeface="Tahoma"/>
              <a:cs typeface="Tahoma"/>
            </a:endParaRPr>
          </a:p>
          <a:p>
            <a:pPr marL="8467" defTabSz="609630">
              <a:spcBef>
                <a:spcPts val="410"/>
              </a:spcBef>
            </a:pPr>
            <a:r>
              <a:rPr sz="2200" kern="0" spc="76" dirty="0">
                <a:solidFill>
                  <a:srgbClr val="F5F5F5"/>
                </a:solidFill>
                <a:latin typeface="Tahoma"/>
                <a:cs typeface="Tahoma"/>
              </a:rPr>
              <a:t>Midwife</a:t>
            </a:r>
            <a:r>
              <a:rPr sz="2200" kern="0" spc="-113" dirty="0">
                <a:solidFill>
                  <a:srgbClr val="F5F5F5"/>
                </a:solidFill>
                <a:latin typeface="Tahoma"/>
                <a:cs typeface="Tahoma"/>
              </a:rPr>
              <a:t> </a:t>
            </a:r>
            <a:r>
              <a:rPr sz="2200" kern="0" spc="-17" dirty="0">
                <a:solidFill>
                  <a:srgbClr val="F5F5F5"/>
                </a:solidFill>
                <a:latin typeface="Tahoma"/>
                <a:cs typeface="Tahoma"/>
              </a:rPr>
              <a:t>led</a:t>
            </a:r>
            <a:endParaRPr sz="2200" kern="0">
              <a:solidFill>
                <a:sysClr val="windowText" lastClr="000000"/>
              </a:solidFill>
              <a:latin typeface="Tahoma"/>
              <a:cs typeface="Tahoma"/>
            </a:endParaRPr>
          </a:p>
          <a:p>
            <a:pPr marL="8467" marR="3387" defTabSz="609630">
              <a:lnSpc>
                <a:spcPct val="115500"/>
              </a:lnSpc>
            </a:pPr>
            <a:r>
              <a:rPr sz="2200" kern="0" spc="53" dirty="0">
                <a:solidFill>
                  <a:srgbClr val="F5F5F5"/>
                </a:solidFill>
                <a:latin typeface="Tahoma"/>
                <a:cs typeface="Tahoma"/>
              </a:rPr>
              <a:t>Low</a:t>
            </a:r>
            <a:r>
              <a:rPr sz="2200" kern="0" spc="-147" dirty="0">
                <a:solidFill>
                  <a:srgbClr val="F5F5F5"/>
                </a:solidFill>
                <a:latin typeface="Tahoma"/>
                <a:cs typeface="Tahoma"/>
              </a:rPr>
              <a:t> </a:t>
            </a:r>
            <a:r>
              <a:rPr sz="2200" kern="0" spc="-7" dirty="0">
                <a:solidFill>
                  <a:srgbClr val="F5F5F5"/>
                </a:solidFill>
                <a:latin typeface="Tahoma"/>
                <a:cs typeface="Tahoma"/>
              </a:rPr>
              <a:t>and</a:t>
            </a:r>
            <a:r>
              <a:rPr sz="2200" kern="0" spc="-143" dirty="0">
                <a:solidFill>
                  <a:srgbClr val="F5F5F5"/>
                </a:solidFill>
                <a:latin typeface="Tahoma"/>
                <a:cs typeface="Tahoma"/>
              </a:rPr>
              <a:t> </a:t>
            </a:r>
            <a:r>
              <a:rPr sz="2200" kern="0" dirty="0">
                <a:solidFill>
                  <a:srgbClr val="F5F5F5"/>
                </a:solidFill>
                <a:latin typeface="Tahoma"/>
                <a:cs typeface="Tahoma"/>
              </a:rPr>
              <a:t>mixed</a:t>
            </a:r>
            <a:r>
              <a:rPr sz="2200" kern="0" spc="-147" dirty="0">
                <a:solidFill>
                  <a:srgbClr val="F5F5F5"/>
                </a:solidFill>
                <a:latin typeface="Tahoma"/>
                <a:cs typeface="Tahoma"/>
              </a:rPr>
              <a:t> </a:t>
            </a:r>
            <a:r>
              <a:rPr sz="2200" kern="0" spc="-13" dirty="0">
                <a:solidFill>
                  <a:srgbClr val="F5F5F5"/>
                </a:solidFill>
                <a:latin typeface="Tahoma"/>
                <a:cs typeface="Tahoma"/>
              </a:rPr>
              <a:t>risk </a:t>
            </a:r>
            <a:r>
              <a:rPr sz="2200" kern="0" dirty="0">
                <a:solidFill>
                  <a:srgbClr val="F5F5F5"/>
                </a:solidFill>
                <a:latin typeface="Tahoma"/>
                <a:cs typeface="Tahoma"/>
              </a:rPr>
              <a:t>Longer</a:t>
            </a:r>
            <a:r>
              <a:rPr sz="2200" kern="0" spc="-113" dirty="0">
                <a:solidFill>
                  <a:srgbClr val="F5F5F5"/>
                </a:solidFill>
                <a:latin typeface="Tahoma"/>
                <a:cs typeface="Tahoma"/>
              </a:rPr>
              <a:t> </a:t>
            </a:r>
            <a:r>
              <a:rPr sz="2200" kern="0" spc="-7" dirty="0">
                <a:solidFill>
                  <a:srgbClr val="F5F5F5"/>
                </a:solidFill>
                <a:latin typeface="Tahoma"/>
                <a:cs typeface="Tahoma"/>
              </a:rPr>
              <a:t>visits</a:t>
            </a:r>
            <a:r>
              <a:rPr sz="2200" kern="0" spc="550" dirty="0">
                <a:solidFill>
                  <a:srgbClr val="F5F5F5"/>
                </a:solidFill>
                <a:latin typeface="Tahoma"/>
                <a:cs typeface="Tahoma"/>
              </a:rPr>
              <a:t> </a:t>
            </a:r>
            <a:r>
              <a:rPr sz="2200" kern="0" dirty="0">
                <a:solidFill>
                  <a:srgbClr val="F5F5F5"/>
                </a:solidFill>
                <a:latin typeface="Tahoma"/>
                <a:cs typeface="Tahoma"/>
              </a:rPr>
              <a:t>Continuous</a:t>
            </a:r>
            <a:r>
              <a:rPr sz="2200" kern="0" spc="-43" dirty="0">
                <a:solidFill>
                  <a:srgbClr val="F5F5F5"/>
                </a:solidFill>
                <a:latin typeface="Tahoma"/>
                <a:cs typeface="Tahoma"/>
              </a:rPr>
              <a:t> </a:t>
            </a:r>
            <a:r>
              <a:rPr sz="2200" kern="0" dirty="0">
                <a:solidFill>
                  <a:srgbClr val="F5F5F5"/>
                </a:solidFill>
                <a:latin typeface="Tahoma"/>
                <a:cs typeface="Tahoma"/>
              </a:rPr>
              <a:t>care</a:t>
            </a:r>
            <a:r>
              <a:rPr sz="2200" kern="0" spc="-40" dirty="0">
                <a:solidFill>
                  <a:srgbClr val="F5F5F5"/>
                </a:solidFill>
                <a:latin typeface="Tahoma"/>
                <a:cs typeface="Tahoma"/>
              </a:rPr>
              <a:t> </a:t>
            </a:r>
            <a:r>
              <a:rPr sz="2200" kern="0" dirty="0">
                <a:solidFill>
                  <a:srgbClr val="F5F5F5"/>
                </a:solidFill>
                <a:latin typeface="Tahoma"/>
                <a:cs typeface="Tahoma"/>
              </a:rPr>
              <a:t>in</a:t>
            </a:r>
            <a:r>
              <a:rPr sz="2200" kern="0" spc="-40" dirty="0">
                <a:solidFill>
                  <a:srgbClr val="F5F5F5"/>
                </a:solidFill>
                <a:latin typeface="Tahoma"/>
                <a:cs typeface="Tahoma"/>
              </a:rPr>
              <a:t> </a:t>
            </a:r>
            <a:r>
              <a:rPr sz="2200" kern="0" spc="-7" dirty="0">
                <a:solidFill>
                  <a:srgbClr val="F5F5F5"/>
                </a:solidFill>
                <a:latin typeface="Tahoma"/>
                <a:cs typeface="Tahoma"/>
              </a:rPr>
              <a:t>labor </a:t>
            </a:r>
            <a:r>
              <a:rPr sz="2200" kern="0" dirty="0">
                <a:solidFill>
                  <a:srgbClr val="F5F5F5"/>
                </a:solidFill>
                <a:latin typeface="Tahoma"/>
                <a:cs typeface="Tahoma"/>
              </a:rPr>
              <a:t>Education</a:t>
            </a:r>
            <a:r>
              <a:rPr sz="2200" kern="0" spc="7" dirty="0">
                <a:solidFill>
                  <a:srgbClr val="F5F5F5"/>
                </a:solidFill>
                <a:latin typeface="Tahoma"/>
                <a:cs typeface="Tahoma"/>
              </a:rPr>
              <a:t> </a:t>
            </a:r>
            <a:r>
              <a:rPr sz="2200" kern="0" spc="-7" dirty="0">
                <a:solidFill>
                  <a:srgbClr val="F5F5F5"/>
                </a:solidFill>
                <a:latin typeface="Tahoma"/>
                <a:cs typeface="Tahoma"/>
              </a:rPr>
              <a:t>focused </a:t>
            </a:r>
            <a:r>
              <a:rPr sz="2200" kern="0" spc="47" dirty="0">
                <a:solidFill>
                  <a:srgbClr val="F5F5F5"/>
                </a:solidFill>
                <a:latin typeface="Tahoma"/>
                <a:cs typeface="Tahoma"/>
              </a:rPr>
              <a:t>Follow</a:t>
            </a:r>
            <a:r>
              <a:rPr sz="2200" kern="0" spc="-123" dirty="0">
                <a:solidFill>
                  <a:srgbClr val="F5F5F5"/>
                </a:solidFill>
                <a:latin typeface="Tahoma"/>
                <a:cs typeface="Tahoma"/>
              </a:rPr>
              <a:t> </a:t>
            </a:r>
            <a:r>
              <a:rPr sz="2200" kern="0" dirty="0">
                <a:solidFill>
                  <a:srgbClr val="F5F5F5"/>
                </a:solidFill>
                <a:latin typeface="Tahoma"/>
                <a:cs typeface="Tahoma"/>
              </a:rPr>
              <a:t>up</a:t>
            </a:r>
            <a:r>
              <a:rPr sz="2200" kern="0" spc="-120" dirty="0">
                <a:solidFill>
                  <a:srgbClr val="F5F5F5"/>
                </a:solidFill>
                <a:latin typeface="Tahoma"/>
                <a:cs typeface="Tahoma"/>
              </a:rPr>
              <a:t> </a:t>
            </a:r>
            <a:r>
              <a:rPr sz="2200" kern="0" dirty="0">
                <a:solidFill>
                  <a:srgbClr val="F5F5F5"/>
                </a:solidFill>
                <a:latin typeface="Tahoma"/>
                <a:cs typeface="Tahoma"/>
              </a:rPr>
              <a:t>care</a:t>
            </a:r>
            <a:r>
              <a:rPr sz="2200" kern="0" spc="-120" dirty="0">
                <a:solidFill>
                  <a:srgbClr val="F5F5F5"/>
                </a:solidFill>
                <a:latin typeface="Tahoma"/>
                <a:cs typeface="Tahoma"/>
              </a:rPr>
              <a:t> </a:t>
            </a:r>
            <a:r>
              <a:rPr sz="2200" kern="0" dirty="0">
                <a:solidFill>
                  <a:srgbClr val="F5F5F5"/>
                </a:solidFill>
                <a:latin typeface="Tahoma"/>
                <a:cs typeface="Tahoma"/>
              </a:rPr>
              <a:t>in</a:t>
            </a:r>
            <a:r>
              <a:rPr sz="2200" kern="0" spc="-120" dirty="0">
                <a:solidFill>
                  <a:srgbClr val="F5F5F5"/>
                </a:solidFill>
                <a:latin typeface="Tahoma"/>
                <a:cs typeface="Tahoma"/>
              </a:rPr>
              <a:t> </a:t>
            </a:r>
            <a:r>
              <a:rPr sz="2200" kern="0" spc="-17" dirty="0">
                <a:solidFill>
                  <a:srgbClr val="F5F5F5"/>
                </a:solidFill>
                <a:latin typeface="Tahoma"/>
                <a:cs typeface="Tahoma"/>
              </a:rPr>
              <a:t>the </a:t>
            </a:r>
            <a:r>
              <a:rPr sz="2200" kern="0" spc="-13" dirty="0">
                <a:solidFill>
                  <a:srgbClr val="F5F5F5"/>
                </a:solidFill>
                <a:latin typeface="Tahoma"/>
                <a:cs typeface="Tahoma"/>
              </a:rPr>
              <a:t>home</a:t>
            </a:r>
            <a:endParaRPr sz="2200" kern="0">
              <a:solidFill>
                <a:sysClr val="windowText" lastClr="000000"/>
              </a:solidFill>
              <a:latin typeface="Tahoma"/>
              <a:cs typeface="Tahoma"/>
            </a:endParaRPr>
          </a:p>
          <a:p>
            <a:pPr marL="8467" defTabSz="609630">
              <a:spcBef>
                <a:spcPts val="410"/>
              </a:spcBef>
            </a:pPr>
            <a:r>
              <a:rPr sz="2200" kern="0" dirty="0">
                <a:solidFill>
                  <a:srgbClr val="F5F5F5"/>
                </a:solidFill>
                <a:latin typeface="Tahoma"/>
                <a:cs typeface="Tahoma"/>
              </a:rPr>
              <a:t>Community</a:t>
            </a:r>
            <a:r>
              <a:rPr sz="2200" kern="0" spc="50" dirty="0">
                <a:solidFill>
                  <a:srgbClr val="F5F5F5"/>
                </a:solidFill>
                <a:latin typeface="Tahoma"/>
                <a:cs typeface="Tahoma"/>
              </a:rPr>
              <a:t> </a:t>
            </a:r>
            <a:r>
              <a:rPr sz="2200" kern="0" spc="-7" dirty="0">
                <a:solidFill>
                  <a:srgbClr val="F5F5F5"/>
                </a:solidFill>
                <a:latin typeface="Tahoma"/>
                <a:cs typeface="Tahoma"/>
              </a:rPr>
              <a:t>engaged</a:t>
            </a:r>
            <a:endParaRPr sz="2200" kern="0">
              <a:solidFill>
                <a:sysClr val="windowText" lastClr="000000"/>
              </a:solidFill>
              <a:latin typeface="Tahoma"/>
              <a:cs typeface="Tahoma"/>
            </a:endParaRPr>
          </a:p>
        </p:txBody>
      </p:sp>
      <p:grpSp>
        <p:nvGrpSpPr>
          <p:cNvPr id="25" name="object 25"/>
          <p:cNvGrpSpPr/>
          <p:nvPr/>
        </p:nvGrpSpPr>
        <p:grpSpPr>
          <a:xfrm>
            <a:off x="8510889" y="2694839"/>
            <a:ext cx="88900" cy="2413000"/>
            <a:chOff x="12766333" y="4042258"/>
            <a:chExt cx="133350" cy="3619500"/>
          </a:xfrm>
        </p:grpSpPr>
        <p:pic>
          <p:nvPicPr>
            <p:cNvPr id="26" name="object 26"/>
            <p:cNvPicPr/>
            <p:nvPr/>
          </p:nvPicPr>
          <p:blipFill>
            <a:blip r:embed="rId5" cstate="print"/>
            <a:stretch>
              <a:fillRect/>
            </a:stretch>
          </p:blipFill>
          <p:spPr>
            <a:xfrm>
              <a:off x="12766333" y="4042258"/>
              <a:ext cx="133350" cy="133349"/>
            </a:xfrm>
            <a:prstGeom prst="rect">
              <a:avLst/>
            </a:prstGeom>
          </p:spPr>
        </p:pic>
        <p:pic>
          <p:nvPicPr>
            <p:cNvPr id="27" name="object 27"/>
            <p:cNvPicPr/>
            <p:nvPr/>
          </p:nvPicPr>
          <p:blipFill>
            <a:blip r:embed="rId5" cstate="print"/>
            <a:stretch>
              <a:fillRect/>
            </a:stretch>
          </p:blipFill>
          <p:spPr>
            <a:xfrm>
              <a:off x="12766333" y="4623283"/>
              <a:ext cx="133350" cy="133349"/>
            </a:xfrm>
            <a:prstGeom prst="rect">
              <a:avLst/>
            </a:prstGeom>
          </p:spPr>
        </p:pic>
        <p:pic>
          <p:nvPicPr>
            <p:cNvPr id="28" name="object 28"/>
            <p:cNvPicPr/>
            <p:nvPr/>
          </p:nvPicPr>
          <p:blipFill>
            <a:blip r:embed="rId5" cstate="print"/>
            <a:stretch>
              <a:fillRect/>
            </a:stretch>
          </p:blipFill>
          <p:spPr>
            <a:xfrm>
              <a:off x="12766333" y="5204308"/>
              <a:ext cx="133350" cy="133349"/>
            </a:xfrm>
            <a:prstGeom prst="rect">
              <a:avLst/>
            </a:prstGeom>
          </p:spPr>
        </p:pic>
        <p:pic>
          <p:nvPicPr>
            <p:cNvPr id="29" name="object 29"/>
            <p:cNvPicPr/>
            <p:nvPr/>
          </p:nvPicPr>
          <p:blipFill>
            <a:blip r:embed="rId5" cstate="print"/>
            <a:stretch>
              <a:fillRect/>
            </a:stretch>
          </p:blipFill>
          <p:spPr>
            <a:xfrm>
              <a:off x="12766333" y="5785333"/>
              <a:ext cx="133350" cy="133349"/>
            </a:xfrm>
            <a:prstGeom prst="rect">
              <a:avLst/>
            </a:prstGeom>
          </p:spPr>
        </p:pic>
        <p:pic>
          <p:nvPicPr>
            <p:cNvPr id="30" name="object 30"/>
            <p:cNvPicPr/>
            <p:nvPr/>
          </p:nvPicPr>
          <p:blipFill>
            <a:blip r:embed="rId5" cstate="print"/>
            <a:stretch>
              <a:fillRect/>
            </a:stretch>
          </p:blipFill>
          <p:spPr>
            <a:xfrm>
              <a:off x="12766333" y="7528408"/>
              <a:ext cx="133350" cy="133349"/>
            </a:xfrm>
            <a:prstGeom prst="rect">
              <a:avLst/>
            </a:prstGeom>
          </p:spPr>
        </p:pic>
      </p:grpSp>
      <p:sp>
        <p:nvSpPr>
          <p:cNvPr id="31" name="object 31"/>
          <p:cNvSpPr txBox="1"/>
          <p:nvPr/>
        </p:nvSpPr>
        <p:spPr>
          <a:xfrm>
            <a:off x="8723383" y="2488252"/>
            <a:ext cx="3039533" cy="3895704"/>
          </a:xfrm>
          <a:prstGeom prst="rect">
            <a:avLst/>
          </a:prstGeom>
        </p:spPr>
        <p:txBody>
          <a:bodyPr vert="horz" wrap="square" lIns="0" tIns="8467" rIns="0" bIns="0" rtlCol="0">
            <a:spAutoFit/>
          </a:bodyPr>
          <a:lstStyle/>
          <a:p>
            <a:pPr marL="8467" marR="3387" defTabSz="609630">
              <a:lnSpc>
                <a:spcPct val="115500"/>
              </a:lnSpc>
              <a:spcBef>
                <a:spcPts val="67"/>
              </a:spcBef>
            </a:pPr>
            <a:r>
              <a:rPr sz="2200" kern="0" dirty="0">
                <a:solidFill>
                  <a:srgbClr val="F5F5F5"/>
                </a:solidFill>
                <a:latin typeface="Tahoma"/>
                <a:cs typeface="Tahoma"/>
              </a:rPr>
              <a:t>Transfer</a:t>
            </a:r>
            <a:r>
              <a:rPr sz="2200" kern="0" spc="-140" dirty="0">
                <a:solidFill>
                  <a:srgbClr val="F5F5F5"/>
                </a:solidFill>
                <a:latin typeface="Tahoma"/>
                <a:cs typeface="Tahoma"/>
              </a:rPr>
              <a:t> </a:t>
            </a:r>
            <a:r>
              <a:rPr sz="2200" kern="0" spc="-7" dirty="0">
                <a:solidFill>
                  <a:srgbClr val="F5F5F5"/>
                </a:solidFill>
                <a:latin typeface="Tahoma"/>
                <a:cs typeface="Tahoma"/>
              </a:rPr>
              <a:t>agreement </a:t>
            </a:r>
            <a:r>
              <a:rPr sz="2200" kern="0" dirty="0">
                <a:solidFill>
                  <a:srgbClr val="F5F5F5"/>
                </a:solidFill>
                <a:latin typeface="Tahoma"/>
                <a:cs typeface="Tahoma"/>
              </a:rPr>
              <a:t>Perinatal</a:t>
            </a:r>
            <a:r>
              <a:rPr sz="2200" kern="0" spc="-70" dirty="0">
                <a:solidFill>
                  <a:srgbClr val="F5F5F5"/>
                </a:solidFill>
                <a:latin typeface="Tahoma"/>
                <a:cs typeface="Tahoma"/>
              </a:rPr>
              <a:t> </a:t>
            </a:r>
            <a:r>
              <a:rPr sz="2200" kern="0" spc="-7" dirty="0">
                <a:solidFill>
                  <a:srgbClr val="F5F5F5"/>
                </a:solidFill>
                <a:latin typeface="Tahoma"/>
                <a:cs typeface="Tahoma"/>
              </a:rPr>
              <a:t>Center </a:t>
            </a:r>
            <a:r>
              <a:rPr sz="2200" kern="0" dirty="0">
                <a:solidFill>
                  <a:srgbClr val="F5F5F5"/>
                </a:solidFill>
                <a:latin typeface="Tahoma"/>
                <a:cs typeface="Tahoma"/>
              </a:rPr>
              <a:t>Collaborating</a:t>
            </a:r>
            <a:r>
              <a:rPr sz="2200" kern="0" spc="-63" dirty="0">
                <a:solidFill>
                  <a:srgbClr val="F5F5F5"/>
                </a:solidFill>
                <a:latin typeface="Tahoma"/>
                <a:cs typeface="Tahoma"/>
              </a:rPr>
              <a:t> </a:t>
            </a:r>
            <a:r>
              <a:rPr sz="2200" kern="0" spc="190" dirty="0">
                <a:solidFill>
                  <a:srgbClr val="F5F5F5"/>
                </a:solidFill>
                <a:latin typeface="Tahoma"/>
                <a:cs typeface="Tahoma"/>
              </a:rPr>
              <a:t>DO</a:t>
            </a:r>
            <a:r>
              <a:rPr sz="2200" kern="0" spc="-60" dirty="0">
                <a:solidFill>
                  <a:srgbClr val="F5F5F5"/>
                </a:solidFill>
                <a:latin typeface="Tahoma"/>
                <a:cs typeface="Tahoma"/>
              </a:rPr>
              <a:t> </a:t>
            </a:r>
            <a:r>
              <a:rPr sz="2200" kern="0" dirty="0">
                <a:solidFill>
                  <a:srgbClr val="F5F5F5"/>
                </a:solidFill>
                <a:latin typeface="Tahoma"/>
                <a:cs typeface="Tahoma"/>
              </a:rPr>
              <a:t>or</a:t>
            </a:r>
            <a:r>
              <a:rPr sz="2200" kern="0" spc="-60" dirty="0">
                <a:solidFill>
                  <a:srgbClr val="F5F5F5"/>
                </a:solidFill>
                <a:latin typeface="Tahoma"/>
                <a:cs typeface="Tahoma"/>
              </a:rPr>
              <a:t> </a:t>
            </a:r>
            <a:r>
              <a:rPr sz="2200" kern="0" spc="240" dirty="0">
                <a:solidFill>
                  <a:srgbClr val="F5F5F5"/>
                </a:solidFill>
                <a:latin typeface="Tahoma"/>
                <a:cs typeface="Tahoma"/>
              </a:rPr>
              <a:t>MD </a:t>
            </a:r>
            <a:r>
              <a:rPr sz="2200" kern="0" spc="97" dirty="0">
                <a:solidFill>
                  <a:srgbClr val="F5F5F5"/>
                </a:solidFill>
                <a:latin typeface="Tahoma"/>
                <a:cs typeface="Tahoma"/>
              </a:rPr>
              <a:t>Meet</a:t>
            </a:r>
            <a:r>
              <a:rPr sz="2200" kern="0" spc="-127" dirty="0">
                <a:solidFill>
                  <a:srgbClr val="F5F5F5"/>
                </a:solidFill>
                <a:latin typeface="Tahoma"/>
                <a:cs typeface="Tahoma"/>
              </a:rPr>
              <a:t> </a:t>
            </a:r>
            <a:r>
              <a:rPr sz="2200" kern="0" dirty="0">
                <a:solidFill>
                  <a:srgbClr val="F5F5F5"/>
                </a:solidFill>
                <a:latin typeface="Tahoma"/>
                <a:cs typeface="Tahoma"/>
              </a:rPr>
              <a:t>national</a:t>
            </a:r>
            <a:r>
              <a:rPr sz="2200" kern="0" spc="-127" dirty="0">
                <a:solidFill>
                  <a:srgbClr val="F5F5F5"/>
                </a:solidFill>
                <a:latin typeface="Tahoma"/>
                <a:cs typeface="Tahoma"/>
              </a:rPr>
              <a:t> </a:t>
            </a:r>
            <a:r>
              <a:rPr sz="2200" kern="0" spc="-7" dirty="0">
                <a:solidFill>
                  <a:srgbClr val="F5F5F5"/>
                </a:solidFill>
                <a:latin typeface="Tahoma"/>
                <a:cs typeface="Tahoma"/>
              </a:rPr>
              <a:t>standards </a:t>
            </a:r>
            <a:r>
              <a:rPr sz="2200" kern="0" spc="57" dirty="0">
                <a:solidFill>
                  <a:srgbClr val="F5F5F5"/>
                </a:solidFill>
                <a:latin typeface="Tahoma"/>
                <a:cs typeface="Tahoma"/>
              </a:rPr>
              <a:t>of</a:t>
            </a:r>
            <a:r>
              <a:rPr sz="2200" kern="0" spc="-70" dirty="0">
                <a:solidFill>
                  <a:srgbClr val="F5F5F5"/>
                </a:solidFill>
                <a:latin typeface="Tahoma"/>
                <a:cs typeface="Tahoma"/>
              </a:rPr>
              <a:t> </a:t>
            </a:r>
            <a:r>
              <a:rPr sz="2200" kern="0" dirty="0">
                <a:solidFill>
                  <a:srgbClr val="F5F5F5"/>
                </a:solidFill>
                <a:latin typeface="Tahoma"/>
                <a:cs typeface="Tahoma"/>
              </a:rPr>
              <a:t>American</a:t>
            </a:r>
            <a:r>
              <a:rPr sz="2200" kern="0" spc="-70" dirty="0">
                <a:solidFill>
                  <a:srgbClr val="F5F5F5"/>
                </a:solidFill>
                <a:latin typeface="Tahoma"/>
                <a:cs typeface="Tahoma"/>
              </a:rPr>
              <a:t> </a:t>
            </a:r>
            <a:r>
              <a:rPr sz="2200" kern="0" spc="-7" dirty="0">
                <a:solidFill>
                  <a:srgbClr val="F5F5F5"/>
                </a:solidFill>
                <a:latin typeface="Tahoma"/>
                <a:cs typeface="Tahoma"/>
              </a:rPr>
              <a:t>Association </a:t>
            </a:r>
            <a:r>
              <a:rPr sz="2200" kern="0" spc="57" dirty="0">
                <a:solidFill>
                  <a:srgbClr val="F5F5F5"/>
                </a:solidFill>
                <a:latin typeface="Tahoma"/>
                <a:cs typeface="Tahoma"/>
              </a:rPr>
              <a:t>of</a:t>
            </a:r>
            <a:r>
              <a:rPr sz="2200" kern="0" spc="-76" dirty="0">
                <a:solidFill>
                  <a:srgbClr val="F5F5F5"/>
                </a:solidFill>
                <a:latin typeface="Tahoma"/>
                <a:cs typeface="Tahoma"/>
              </a:rPr>
              <a:t> </a:t>
            </a:r>
            <a:r>
              <a:rPr sz="2200" kern="0" spc="40" dirty="0">
                <a:solidFill>
                  <a:srgbClr val="F5F5F5"/>
                </a:solidFill>
                <a:latin typeface="Tahoma"/>
                <a:cs typeface="Tahoma"/>
              </a:rPr>
              <a:t>Birth</a:t>
            </a:r>
            <a:r>
              <a:rPr sz="2200" kern="0" spc="-73" dirty="0">
                <a:solidFill>
                  <a:srgbClr val="F5F5F5"/>
                </a:solidFill>
                <a:latin typeface="Tahoma"/>
                <a:cs typeface="Tahoma"/>
              </a:rPr>
              <a:t> </a:t>
            </a:r>
            <a:r>
              <a:rPr sz="2200" kern="0" dirty="0">
                <a:solidFill>
                  <a:srgbClr val="F5F5F5"/>
                </a:solidFill>
                <a:latin typeface="Tahoma"/>
                <a:cs typeface="Tahoma"/>
              </a:rPr>
              <a:t>Centers</a:t>
            </a:r>
            <a:r>
              <a:rPr sz="2200" kern="0" spc="-73" dirty="0">
                <a:solidFill>
                  <a:srgbClr val="F5F5F5"/>
                </a:solidFill>
                <a:latin typeface="Tahoma"/>
                <a:cs typeface="Tahoma"/>
              </a:rPr>
              <a:t> </a:t>
            </a:r>
            <a:r>
              <a:rPr sz="2200" kern="0" spc="-7" dirty="0">
                <a:solidFill>
                  <a:srgbClr val="F5F5F5"/>
                </a:solidFill>
                <a:latin typeface="Tahoma"/>
                <a:cs typeface="Tahoma"/>
              </a:rPr>
              <a:t>(AABC) </a:t>
            </a:r>
            <a:r>
              <a:rPr sz="2200" kern="0" spc="33" dirty="0">
                <a:solidFill>
                  <a:srgbClr val="F5F5F5"/>
                </a:solidFill>
                <a:latin typeface="Tahoma"/>
                <a:cs typeface="Tahoma"/>
              </a:rPr>
              <a:t>Accredited</a:t>
            </a:r>
            <a:r>
              <a:rPr sz="2200" kern="0" spc="-120" dirty="0">
                <a:solidFill>
                  <a:srgbClr val="F5F5F5"/>
                </a:solidFill>
                <a:latin typeface="Tahoma"/>
                <a:cs typeface="Tahoma"/>
              </a:rPr>
              <a:t> </a:t>
            </a:r>
            <a:r>
              <a:rPr sz="2200" kern="0" spc="23" dirty="0">
                <a:solidFill>
                  <a:srgbClr val="F5F5F5"/>
                </a:solidFill>
                <a:latin typeface="Tahoma"/>
                <a:cs typeface="Tahoma"/>
              </a:rPr>
              <a:t>with </a:t>
            </a:r>
            <a:r>
              <a:rPr sz="2200" kern="0" dirty="0">
                <a:solidFill>
                  <a:srgbClr val="F5F5F5"/>
                </a:solidFill>
                <a:latin typeface="Tahoma"/>
                <a:cs typeface="Tahoma"/>
              </a:rPr>
              <a:t>Commission</a:t>
            </a:r>
            <a:r>
              <a:rPr sz="2200" kern="0" spc="-80" dirty="0">
                <a:solidFill>
                  <a:srgbClr val="F5F5F5"/>
                </a:solidFill>
                <a:latin typeface="Tahoma"/>
                <a:cs typeface="Tahoma"/>
              </a:rPr>
              <a:t> </a:t>
            </a:r>
            <a:r>
              <a:rPr sz="2200" kern="0" spc="40" dirty="0">
                <a:solidFill>
                  <a:srgbClr val="F5F5F5"/>
                </a:solidFill>
                <a:latin typeface="Tahoma"/>
                <a:cs typeface="Tahoma"/>
              </a:rPr>
              <a:t>for</a:t>
            </a:r>
            <a:r>
              <a:rPr sz="2200" kern="0" spc="-80" dirty="0">
                <a:solidFill>
                  <a:srgbClr val="F5F5F5"/>
                </a:solidFill>
                <a:latin typeface="Tahoma"/>
                <a:cs typeface="Tahoma"/>
              </a:rPr>
              <a:t> </a:t>
            </a:r>
            <a:r>
              <a:rPr sz="2200" kern="0" spc="-17" dirty="0">
                <a:solidFill>
                  <a:srgbClr val="F5F5F5"/>
                </a:solidFill>
                <a:latin typeface="Tahoma"/>
                <a:cs typeface="Tahoma"/>
              </a:rPr>
              <a:t>the </a:t>
            </a:r>
            <a:r>
              <a:rPr sz="2200" kern="0" dirty="0">
                <a:solidFill>
                  <a:srgbClr val="F5F5F5"/>
                </a:solidFill>
                <a:latin typeface="Tahoma"/>
                <a:cs typeface="Tahoma"/>
              </a:rPr>
              <a:t>Accreditation</a:t>
            </a:r>
            <a:r>
              <a:rPr sz="2200" kern="0" spc="67" dirty="0">
                <a:solidFill>
                  <a:srgbClr val="F5F5F5"/>
                </a:solidFill>
                <a:latin typeface="Tahoma"/>
                <a:cs typeface="Tahoma"/>
              </a:rPr>
              <a:t> </a:t>
            </a:r>
            <a:r>
              <a:rPr sz="2200" kern="0" spc="57" dirty="0">
                <a:solidFill>
                  <a:srgbClr val="F5F5F5"/>
                </a:solidFill>
                <a:latin typeface="Tahoma"/>
                <a:cs typeface="Tahoma"/>
              </a:rPr>
              <a:t>of</a:t>
            </a:r>
            <a:r>
              <a:rPr sz="2200" kern="0" spc="67" dirty="0">
                <a:solidFill>
                  <a:srgbClr val="F5F5F5"/>
                </a:solidFill>
                <a:latin typeface="Tahoma"/>
                <a:cs typeface="Tahoma"/>
              </a:rPr>
              <a:t> </a:t>
            </a:r>
            <a:r>
              <a:rPr sz="2200" kern="0" spc="33" dirty="0">
                <a:solidFill>
                  <a:srgbClr val="F5F5F5"/>
                </a:solidFill>
                <a:latin typeface="Tahoma"/>
                <a:cs typeface="Tahoma"/>
              </a:rPr>
              <a:t>Birth </a:t>
            </a:r>
            <a:r>
              <a:rPr sz="2200" kern="0" dirty="0">
                <a:solidFill>
                  <a:srgbClr val="F5F5F5"/>
                </a:solidFill>
                <a:latin typeface="Tahoma"/>
                <a:cs typeface="Tahoma"/>
              </a:rPr>
              <a:t>Centers</a:t>
            </a:r>
            <a:r>
              <a:rPr sz="2200" kern="0" spc="23" dirty="0">
                <a:solidFill>
                  <a:srgbClr val="F5F5F5"/>
                </a:solidFill>
                <a:latin typeface="Tahoma"/>
                <a:cs typeface="Tahoma"/>
              </a:rPr>
              <a:t> </a:t>
            </a:r>
            <a:r>
              <a:rPr sz="2200" kern="0" spc="-7" dirty="0">
                <a:solidFill>
                  <a:srgbClr val="F5F5F5"/>
                </a:solidFill>
                <a:latin typeface="Tahoma"/>
                <a:cs typeface="Tahoma"/>
              </a:rPr>
              <a:t>(CABC)</a:t>
            </a:r>
            <a:endParaRPr sz="2200" kern="0">
              <a:solidFill>
                <a:sysClr val="windowText" lastClr="000000"/>
              </a:solidFill>
              <a:latin typeface="Tahoma"/>
              <a:cs typeface="Tahoma"/>
            </a:endParaRPr>
          </a:p>
        </p:txBody>
      </p:sp>
      <p:sp>
        <p:nvSpPr>
          <p:cNvPr id="32" name="object 32"/>
          <p:cNvSpPr txBox="1"/>
          <p:nvPr/>
        </p:nvSpPr>
        <p:spPr>
          <a:xfrm>
            <a:off x="1394624" y="1797034"/>
            <a:ext cx="1397847" cy="611279"/>
          </a:xfrm>
          <a:prstGeom prst="rect">
            <a:avLst/>
          </a:prstGeom>
        </p:spPr>
        <p:txBody>
          <a:bodyPr vert="horz" wrap="square" lIns="0" tIns="8467" rIns="0" bIns="0" rtlCol="0">
            <a:spAutoFit/>
          </a:bodyPr>
          <a:lstStyle/>
          <a:p>
            <a:pPr algn="ctr" defTabSz="609630">
              <a:lnSpc>
                <a:spcPts val="3177"/>
              </a:lnSpc>
              <a:spcBef>
                <a:spcPts val="67"/>
              </a:spcBef>
            </a:pPr>
            <a:r>
              <a:rPr sz="2667" b="1" kern="0" spc="-203" dirty="0">
                <a:solidFill>
                  <a:srgbClr val="F5F5F5"/>
                </a:solidFill>
                <a:latin typeface="Tahoma"/>
                <a:cs typeface="Tahoma"/>
              </a:rPr>
              <a:t>Research</a:t>
            </a:r>
            <a:endParaRPr sz="2667" kern="0">
              <a:solidFill>
                <a:sysClr val="windowText" lastClr="000000"/>
              </a:solidFill>
              <a:latin typeface="Tahoma"/>
              <a:cs typeface="Tahoma"/>
            </a:endParaRPr>
          </a:p>
          <a:p>
            <a:pPr algn="ctr" defTabSz="609630">
              <a:lnSpc>
                <a:spcPts val="1497"/>
              </a:lnSpc>
            </a:pPr>
            <a:r>
              <a:rPr sz="1267" kern="0" spc="-20" dirty="0">
                <a:solidFill>
                  <a:srgbClr val="F5F5F5"/>
                </a:solidFill>
                <a:latin typeface="Noto Sans"/>
                <a:cs typeface="Noto Sans"/>
              </a:rPr>
              <a:t>(NBCS</a:t>
            </a:r>
            <a:r>
              <a:rPr sz="1267" kern="0" spc="-47" dirty="0">
                <a:solidFill>
                  <a:srgbClr val="F5F5F5"/>
                </a:solidFill>
                <a:latin typeface="Noto Sans"/>
                <a:cs typeface="Noto Sans"/>
              </a:rPr>
              <a:t> </a:t>
            </a:r>
            <a:r>
              <a:rPr sz="1267" kern="0" spc="-107" dirty="0">
                <a:solidFill>
                  <a:srgbClr val="F5F5F5"/>
                </a:solidFill>
                <a:latin typeface="Noto Sans"/>
                <a:cs typeface="Noto Sans"/>
              </a:rPr>
              <a:t>II,</a:t>
            </a:r>
            <a:r>
              <a:rPr sz="1267" kern="0" spc="-3" dirty="0">
                <a:solidFill>
                  <a:srgbClr val="F5F5F5"/>
                </a:solidFill>
                <a:latin typeface="Noto Sans"/>
                <a:cs typeface="Noto Sans"/>
              </a:rPr>
              <a:t> </a:t>
            </a:r>
            <a:r>
              <a:rPr sz="1267" kern="0" spc="-13" dirty="0">
                <a:solidFill>
                  <a:srgbClr val="F5F5F5"/>
                </a:solidFill>
                <a:latin typeface="Noto Sans"/>
                <a:cs typeface="Noto Sans"/>
              </a:rPr>
              <a:t>2013)</a:t>
            </a:r>
            <a:endParaRPr sz="1267" kern="0">
              <a:solidFill>
                <a:sysClr val="windowText" lastClr="000000"/>
              </a:solidFill>
              <a:latin typeface="Noto Sans"/>
              <a:cs typeface="Noto Sans"/>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543049" y="1531562"/>
            <a:ext cx="3498003" cy="3646593"/>
            <a:chOff x="2314573" y="2297342"/>
            <a:chExt cx="5247005" cy="5469890"/>
          </a:xfrm>
        </p:grpSpPr>
        <p:pic>
          <p:nvPicPr>
            <p:cNvPr id="3" name="object 3"/>
            <p:cNvPicPr/>
            <p:nvPr/>
          </p:nvPicPr>
          <p:blipFill>
            <a:blip r:embed="rId2" cstate="print"/>
            <a:stretch>
              <a:fillRect/>
            </a:stretch>
          </p:blipFill>
          <p:spPr>
            <a:xfrm>
              <a:off x="2314573" y="2297342"/>
              <a:ext cx="5246369" cy="5245100"/>
            </a:xfrm>
            <a:prstGeom prst="rect">
              <a:avLst/>
            </a:prstGeom>
          </p:spPr>
        </p:pic>
        <p:sp>
          <p:nvSpPr>
            <p:cNvPr id="4" name="object 4"/>
            <p:cNvSpPr/>
            <p:nvPr/>
          </p:nvSpPr>
          <p:spPr>
            <a:xfrm>
              <a:off x="6173489" y="6379210"/>
              <a:ext cx="1387475" cy="1387475"/>
            </a:xfrm>
            <a:custGeom>
              <a:avLst/>
              <a:gdLst/>
              <a:ahLst/>
              <a:cxnLst/>
              <a:rect l="l" t="t" r="r" b="b"/>
              <a:pathLst>
                <a:path w="1387475" h="1387475">
                  <a:moveTo>
                    <a:pt x="693737" y="1387474"/>
                  </a:moveTo>
                  <a:lnTo>
                    <a:pt x="646239" y="1385874"/>
                  </a:lnTo>
                  <a:lnTo>
                    <a:pt x="599601" y="1381141"/>
                  </a:lnTo>
                  <a:lnTo>
                    <a:pt x="553925" y="1373380"/>
                  </a:lnTo>
                  <a:lnTo>
                    <a:pt x="509314" y="1362693"/>
                  </a:lnTo>
                  <a:lnTo>
                    <a:pt x="465872" y="1349185"/>
                  </a:lnTo>
                  <a:lnTo>
                    <a:pt x="423703" y="1332957"/>
                  </a:lnTo>
                  <a:lnTo>
                    <a:pt x="382909" y="1314114"/>
                  </a:lnTo>
                  <a:lnTo>
                    <a:pt x="343595" y="1292759"/>
                  </a:lnTo>
                  <a:lnTo>
                    <a:pt x="305862" y="1268995"/>
                  </a:lnTo>
                  <a:lnTo>
                    <a:pt x="269815" y="1242925"/>
                  </a:lnTo>
                  <a:lnTo>
                    <a:pt x="235557" y="1214654"/>
                  </a:lnTo>
                  <a:lnTo>
                    <a:pt x="203191" y="1184283"/>
                  </a:lnTo>
                  <a:lnTo>
                    <a:pt x="172820" y="1151917"/>
                  </a:lnTo>
                  <a:lnTo>
                    <a:pt x="144549" y="1117659"/>
                  </a:lnTo>
                  <a:lnTo>
                    <a:pt x="118479" y="1081612"/>
                  </a:lnTo>
                  <a:lnTo>
                    <a:pt x="94715" y="1043880"/>
                  </a:lnTo>
                  <a:lnTo>
                    <a:pt x="73360" y="1004565"/>
                  </a:lnTo>
                  <a:lnTo>
                    <a:pt x="54517" y="963771"/>
                  </a:lnTo>
                  <a:lnTo>
                    <a:pt x="38289" y="921602"/>
                  </a:lnTo>
                  <a:lnTo>
                    <a:pt x="24781" y="878160"/>
                  </a:lnTo>
                  <a:lnTo>
                    <a:pt x="14094" y="833549"/>
                  </a:lnTo>
                  <a:lnTo>
                    <a:pt x="6333" y="787873"/>
                  </a:lnTo>
                  <a:lnTo>
                    <a:pt x="1600" y="741235"/>
                  </a:lnTo>
                  <a:lnTo>
                    <a:pt x="0" y="693737"/>
                  </a:lnTo>
                  <a:lnTo>
                    <a:pt x="1600" y="646240"/>
                  </a:lnTo>
                  <a:lnTo>
                    <a:pt x="6333" y="599601"/>
                  </a:lnTo>
                  <a:lnTo>
                    <a:pt x="14094" y="553925"/>
                  </a:lnTo>
                  <a:lnTo>
                    <a:pt x="24781" y="509314"/>
                  </a:lnTo>
                  <a:lnTo>
                    <a:pt x="38289" y="465873"/>
                  </a:lnTo>
                  <a:lnTo>
                    <a:pt x="54517" y="423703"/>
                  </a:lnTo>
                  <a:lnTo>
                    <a:pt x="73360" y="382909"/>
                  </a:lnTo>
                  <a:lnTo>
                    <a:pt x="94715" y="343595"/>
                  </a:lnTo>
                  <a:lnTo>
                    <a:pt x="118479" y="305862"/>
                  </a:lnTo>
                  <a:lnTo>
                    <a:pt x="144549" y="269815"/>
                  </a:lnTo>
                  <a:lnTo>
                    <a:pt x="172820" y="235557"/>
                  </a:lnTo>
                  <a:lnTo>
                    <a:pt x="203191" y="203191"/>
                  </a:lnTo>
                  <a:lnTo>
                    <a:pt x="235557" y="172820"/>
                  </a:lnTo>
                  <a:lnTo>
                    <a:pt x="269815" y="144548"/>
                  </a:lnTo>
                  <a:lnTo>
                    <a:pt x="305862" y="118479"/>
                  </a:lnTo>
                  <a:lnTo>
                    <a:pt x="343595" y="94715"/>
                  </a:lnTo>
                  <a:lnTo>
                    <a:pt x="382909" y="73360"/>
                  </a:lnTo>
                  <a:lnTo>
                    <a:pt x="423703" y="54517"/>
                  </a:lnTo>
                  <a:lnTo>
                    <a:pt x="465872" y="38289"/>
                  </a:lnTo>
                  <a:lnTo>
                    <a:pt x="509314" y="24780"/>
                  </a:lnTo>
                  <a:lnTo>
                    <a:pt x="553925" y="14094"/>
                  </a:lnTo>
                  <a:lnTo>
                    <a:pt x="599601" y="6333"/>
                  </a:lnTo>
                  <a:lnTo>
                    <a:pt x="646239" y="1600"/>
                  </a:lnTo>
                  <a:lnTo>
                    <a:pt x="693737" y="0"/>
                  </a:lnTo>
                  <a:lnTo>
                    <a:pt x="741234" y="1600"/>
                  </a:lnTo>
                  <a:lnTo>
                    <a:pt x="787873" y="6333"/>
                  </a:lnTo>
                  <a:lnTo>
                    <a:pt x="833549" y="14094"/>
                  </a:lnTo>
                  <a:lnTo>
                    <a:pt x="878160" y="24780"/>
                  </a:lnTo>
                  <a:lnTo>
                    <a:pt x="921601" y="38289"/>
                  </a:lnTo>
                  <a:lnTo>
                    <a:pt x="963771" y="54517"/>
                  </a:lnTo>
                  <a:lnTo>
                    <a:pt x="1004565" y="73360"/>
                  </a:lnTo>
                  <a:lnTo>
                    <a:pt x="1043880" y="94715"/>
                  </a:lnTo>
                  <a:lnTo>
                    <a:pt x="1081612" y="118479"/>
                  </a:lnTo>
                  <a:lnTo>
                    <a:pt x="1117659" y="144548"/>
                  </a:lnTo>
                  <a:lnTo>
                    <a:pt x="1151918" y="172820"/>
                  </a:lnTo>
                  <a:lnTo>
                    <a:pt x="1184284" y="203191"/>
                  </a:lnTo>
                  <a:lnTo>
                    <a:pt x="1214654" y="235557"/>
                  </a:lnTo>
                  <a:lnTo>
                    <a:pt x="1242926" y="269815"/>
                  </a:lnTo>
                  <a:lnTo>
                    <a:pt x="1268995" y="305862"/>
                  </a:lnTo>
                  <a:lnTo>
                    <a:pt x="1292759" y="343595"/>
                  </a:lnTo>
                  <a:lnTo>
                    <a:pt x="1314114" y="382909"/>
                  </a:lnTo>
                  <a:lnTo>
                    <a:pt x="1332957" y="423703"/>
                  </a:lnTo>
                  <a:lnTo>
                    <a:pt x="1349185" y="465873"/>
                  </a:lnTo>
                  <a:lnTo>
                    <a:pt x="1362694" y="509314"/>
                  </a:lnTo>
                  <a:lnTo>
                    <a:pt x="1373380" y="553925"/>
                  </a:lnTo>
                  <a:lnTo>
                    <a:pt x="1381142" y="599601"/>
                  </a:lnTo>
                  <a:lnTo>
                    <a:pt x="1385874" y="646240"/>
                  </a:lnTo>
                  <a:lnTo>
                    <a:pt x="1387475" y="693737"/>
                  </a:lnTo>
                  <a:lnTo>
                    <a:pt x="1385874" y="741235"/>
                  </a:lnTo>
                  <a:lnTo>
                    <a:pt x="1381142" y="787873"/>
                  </a:lnTo>
                  <a:lnTo>
                    <a:pt x="1373380" y="833549"/>
                  </a:lnTo>
                  <a:lnTo>
                    <a:pt x="1362694" y="878160"/>
                  </a:lnTo>
                  <a:lnTo>
                    <a:pt x="1349185" y="921602"/>
                  </a:lnTo>
                  <a:lnTo>
                    <a:pt x="1332957" y="963771"/>
                  </a:lnTo>
                  <a:lnTo>
                    <a:pt x="1314114" y="1004565"/>
                  </a:lnTo>
                  <a:lnTo>
                    <a:pt x="1292759" y="1043880"/>
                  </a:lnTo>
                  <a:lnTo>
                    <a:pt x="1268995" y="1081612"/>
                  </a:lnTo>
                  <a:lnTo>
                    <a:pt x="1242926" y="1117659"/>
                  </a:lnTo>
                  <a:lnTo>
                    <a:pt x="1214654" y="1151917"/>
                  </a:lnTo>
                  <a:lnTo>
                    <a:pt x="1184284" y="1184283"/>
                  </a:lnTo>
                  <a:lnTo>
                    <a:pt x="1151918" y="1214654"/>
                  </a:lnTo>
                  <a:lnTo>
                    <a:pt x="1117659" y="1242925"/>
                  </a:lnTo>
                  <a:lnTo>
                    <a:pt x="1081612" y="1268995"/>
                  </a:lnTo>
                  <a:lnTo>
                    <a:pt x="1043880" y="1292759"/>
                  </a:lnTo>
                  <a:lnTo>
                    <a:pt x="1004565" y="1314114"/>
                  </a:lnTo>
                  <a:lnTo>
                    <a:pt x="963771" y="1332957"/>
                  </a:lnTo>
                  <a:lnTo>
                    <a:pt x="921601" y="1349185"/>
                  </a:lnTo>
                  <a:lnTo>
                    <a:pt x="878160" y="1362693"/>
                  </a:lnTo>
                  <a:lnTo>
                    <a:pt x="833549" y="1373380"/>
                  </a:lnTo>
                  <a:lnTo>
                    <a:pt x="787873" y="1381141"/>
                  </a:lnTo>
                  <a:lnTo>
                    <a:pt x="741234" y="1385874"/>
                  </a:lnTo>
                  <a:lnTo>
                    <a:pt x="693737" y="1387474"/>
                  </a:lnTo>
                  <a:close/>
                </a:path>
              </a:pathLst>
            </a:custGeom>
            <a:solidFill>
              <a:srgbClr val="CCD0A7"/>
            </a:solidFill>
          </p:spPr>
          <p:txBody>
            <a:bodyPr wrap="square" lIns="0" tIns="0" rIns="0" bIns="0" rtlCol="0"/>
            <a:lstStyle/>
            <a:p>
              <a:pPr defTabSz="609630"/>
              <a:endParaRPr sz="1200" kern="0">
                <a:solidFill>
                  <a:sysClr val="windowText" lastClr="000000"/>
                </a:solidFill>
              </a:endParaRPr>
            </a:p>
          </p:txBody>
        </p:sp>
      </p:grpSp>
      <p:sp>
        <p:nvSpPr>
          <p:cNvPr id="5" name="object 5"/>
          <p:cNvSpPr txBox="1">
            <a:spLocks noGrp="1"/>
          </p:cNvSpPr>
          <p:nvPr>
            <p:ph type="title"/>
          </p:nvPr>
        </p:nvSpPr>
        <p:spPr>
          <a:xfrm>
            <a:off x="5554067" y="1962938"/>
            <a:ext cx="5823373" cy="2633199"/>
          </a:xfrm>
          <a:prstGeom prst="rect">
            <a:avLst/>
          </a:prstGeom>
        </p:spPr>
        <p:txBody>
          <a:bodyPr vert="horz" wrap="square" lIns="0" tIns="93133" rIns="0" bIns="0" rtlCol="0">
            <a:spAutoFit/>
          </a:bodyPr>
          <a:lstStyle/>
          <a:p>
            <a:pPr marL="8467" marR="3387">
              <a:lnSpc>
                <a:spcPts val="6600"/>
              </a:lnSpc>
              <a:spcBef>
                <a:spcPts val="733"/>
              </a:spcBef>
            </a:pPr>
            <a:r>
              <a:rPr dirty="0">
                <a:solidFill>
                  <a:srgbClr val="33251B"/>
                </a:solidFill>
              </a:rPr>
              <a:t>About</a:t>
            </a:r>
            <a:r>
              <a:rPr spc="-377" dirty="0">
                <a:solidFill>
                  <a:srgbClr val="33251B"/>
                </a:solidFill>
              </a:rPr>
              <a:t> </a:t>
            </a:r>
            <a:r>
              <a:rPr spc="50" dirty="0">
                <a:solidFill>
                  <a:srgbClr val="33251B"/>
                </a:solidFill>
              </a:rPr>
              <a:t>Chicago </a:t>
            </a:r>
            <a:r>
              <a:rPr spc="193" dirty="0">
                <a:solidFill>
                  <a:srgbClr val="33251B"/>
                </a:solidFill>
              </a:rPr>
              <a:t>South</a:t>
            </a:r>
            <a:r>
              <a:rPr spc="-413" dirty="0">
                <a:solidFill>
                  <a:srgbClr val="33251B"/>
                </a:solidFill>
              </a:rPr>
              <a:t> </a:t>
            </a:r>
            <a:r>
              <a:rPr spc="157" dirty="0">
                <a:solidFill>
                  <a:srgbClr val="33251B"/>
                </a:solidFill>
              </a:rPr>
              <a:t>Side</a:t>
            </a:r>
            <a:r>
              <a:rPr spc="-410" dirty="0">
                <a:solidFill>
                  <a:srgbClr val="33251B"/>
                </a:solidFill>
              </a:rPr>
              <a:t> </a:t>
            </a:r>
            <a:r>
              <a:rPr spc="303" dirty="0">
                <a:solidFill>
                  <a:srgbClr val="33251B"/>
                </a:solidFill>
              </a:rPr>
              <a:t>Birth </a:t>
            </a:r>
            <a:r>
              <a:rPr spc="230" dirty="0">
                <a:solidFill>
                  <a:srgbClr val="33251B"/>
                </a:solidFill>
              </a:rPr>
              <a:t>Center</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6096000" y="1966553"/>
            <a:ext cx="6089649" cy="4857749"/>
          </a:xfrm>
          <a:prstGeom prst="rect">
            <a:avLst/>
          </a:prstGeom>
        </p:spPr>
      </p:pic>
      <p:sp>
        <p:nvSpPr>
          <p:cNvPr id="3" name="object 3"/>
          <p:cNvSpPr/>
          <p:nvPr/>
        </p:nvSpPr>
        <p:spPr>
          <a:xfrm>
            <a:off x="685800" y="0"/>
            <a:ext cx="3860377" cy="3488267"/>
          </a:xfrm>
          <a:custGeom>
            <a:avLst/>
            <a:gdLst/>
            <a:ahLst/>
            <a:cxnLst/>
            <a:rect l="l" t="t" r="r" b="b"/>
            <a:pathLst>
              <a:path w="5790565" h="5232400">
                <a:moveTo>
                  <a:pt x="3552489" y="5168900"/>
                </a:moveTo>
                <a:lnTo>
                  <a:pt x="2237762" y="5168900"/>
                </a:lnTo>
                <a:lnTo>
                  <a:pt x="1971332" y="5092700"/>
                </a:lnTo>
                <a:lnTo>
                  <a:pt x="1927970" y="5067300"/>
                </a:lnTo>
                <a:lnTo>
                  <a:pt x="1799794" y="5029200"/>
                </a:lnTo>
                <a:lnTo>
                  <a:pt x="1757726" y="5003800"/>
                </a:lnTo>
                <a:lnTo>
                  <a:pt x="1715997" y="4991100"/>
                </a:lnTo>
                <a:lnTo>
                  <a:pt x="1674613" y="4965700"/>
                </a:lnTo>
                <a:lnTo>
                  <a:pt x="1633581" y="4953000"/>
                </a:lnTo>
                <a:lnTo>
                  <a:pt x="1592905" y="4927600"/>
                </a:lnTo>
                <a:lnTo>
                  <a:pt x="1552593" y="4914900"/>
                </a:lnTo>
                <a:lnTo>
                  <a:pt x="1433900" y="4838700"/>
                </a:lnTo>
                <a:lnTo>
                  <a:pt x="1395103" y="4826000"/>
                </a:lnTo>
                <a:lnTo>
                  <a:pt x="1318699" y="4775200"/>
                </a:lnTo>
                <a:lnTo>
                  <a:pt x="1243921" y="4724400"/>
                </a:lnTo>
                <a:lnTo>
                  <a:pt x="1170817" y="4673600"/>
                </a:lnTo>
                <a:lnTo>
                  <a:pt x="1134909" y="4648200"/>
                </a:lnTo>
                <a:lnTo>
                  <a:pt x="1099438" y="4610100"/>
                </a:lnTo>
                <a:lnTo>
                  <a:pt x="1029833" y="4559300"/>
                </a:lnTo>
                <a:lnTo>
                  <a:pt x="995710" y="4533900"/>
                </a:lnTo>
                <a:lnTo>
                  <a:pt x="962049" y="4495800"/>
                </a:lnTo>
                <a:lnTo>
                  <a:pt x="928857" y="4470400"/>
                </a:lnTo>
                <a:lnTo>
                  <a:pt x="896138" y="4432300"/>
                </a:lnTo>
                <a:lnTo>
                  <a:pt x="863900" y="4406900"/>
                </a:lnTo>
                <a:lnTo>
                  <a:pt x="832147" y="4368800"/>
                </a:lnTo>
                <a:lnTo>
                  <a:pt x="800888" y="4343400"/>
                </a:lnTo>
                <a:lnTo>
                  <a:pt x="770127" y="4305300"/>
                </a:lnTo>
                <a:lnTo>
                  <a:pt x="739870" y="4279900"/>
                </a:lnTo>
                <a:lnTo>
                  <a:pt x="710125" y="4241800"/>
                </a:lnTo>
                <a:lnTo>
                  <a:pt x="680897" y="4203700"/>
                </a:lnTo>
                <a:lnTo>
                  <a:pt x="652192" y="4178300"/>
                </a:lnTo>
                <a:lnTo>
                  <a:pt x="624016" y="4140200"/>
                </a:lnTo>
                <a:lnTo>
                  <a:pt x="596376" y="4102100"/>
                </a:lnTo>
                <a:lnTo>
                  <a:pt x="569277" y="4064000"/>
                </a:lnTo>
                <a:lnTo>
                  <a:pt x="542726" y="4025900"/>
                </a:lnTo>
                <a:lnTo>
                  <a:pt x="516730" y="4000500"/>
                </a:lnTo>
                <a:lnTo>
                  <a:pt x="491293" y="3962400"/>
                </a:lnTo>
                <a:lnTo>
                  <a:pt x="466422" y="3924300"/>
                </a:lnTo>
                <a:lnTo>
                  <a:pt x="442124" y="3886200"/>
                </a:lnTo>
                <a:lnTo>
                  <a:pt x="418404" y="3848100"/>
                </a:lnTo>
                <a:lnTo>
                  <a:pt x="395269" y="3810000"/>
                </a:lnTo>
                <a:lnTo>
                  <a:pt x="372725" y="3771900"/>
                </a:lnTo>
                <a:lnTo>
                  <a:pt x="350777" y="3721100"/>
                </a:lnTo>
                <a:lnTo>
                  <a:pt x="329433" y="3683000"/>
                </a:lnTo>
                <a:lnTo>
                  <a:pt x="308698" y="3644900"/>
                </a:lnTo>
                <a:lnTo>
                  <a:pt x="288578" y="3606800"/>
                </a:lnTo>
                <a:lnTo>
                  <a:pt x="269080" y="3568700"/>
                </a:lnTo>
                <a:lnTo>
                  <a:pt x="250209" y="3517900"/>
                </a:lnTo>
                <a:lnTo>
                  <a:pt x="231972" y="3479800"/>
                </a:lnTo>
                <a:lnTo>
                  <a:pt x="214375" y="3441700"/>
                </a:lnTo>
                <a:lnTo>
                  <a:pt x="197425" y="3390900"/>
                </a:lnTo>
                <a:lnTo>
                  <a:pt x="181126" y="3352800"/>
                </a:lnTo>
                <a:lnTo>
                  <a:pt x="165486" y="3314700"/>
                </a:lnTo>
                <a:lnTo>
                  <a:pt x="150510" y="3263900"/>
                </a:lnTo>
                <a:lnTo>
                  <a:pt x="136205" y="3225800"/>
                </a:lnTo>
                <a:lnTo>
                  <a:pt x="122576" y="3175000"/>
                </a:lnTo>
                <a:lnTo>
                  <a:pt x="109631" y="3136900"/>
                </a:lnTo>
                <a:lnTo>
                  <a:pt x="97375" y="3086100"/>
                </a:lnTo>
                <a:lnTo>
                  <a:pt x="85813" y="3048000"/>
                </a:lnTo>
                <a:lnTo>
                  <a:pt x="74954" y="2997200"/>
                </a:lnTo>
                <a:lnTo>
                  <a:pt x="64801" y="2959100"/>
                </a:lnTo>
                <a:lnTo>
                  <a:pt x="55363" y="2908300"/>
                </a:lnTo>
                <a:lnTo>
                  <a:pt x="46644" y="2870200"/>
                </a:lnTo>
                <a:lnTo>
                  <a:pt x="38651" y="2819400"/>
                </a:lnTo>
                <a:lnTo>
                  <a:pt x="31390" y="2768600"/>
                </a:lnTo>
                <a:lnTo>
                  <a:pt x="24867" y="2730500"/>
                </a:lnTo>
                <a:lnTo>
                  <a:pt x="19089" y="2679700"/>
                </a:lnTo>
                <a:lnTo>
                  <a:pt x="14061" y="2628900"/>
                </a:lnTo>
                <a:lnTo>
                  <a:pt x="9790" y="2578100"/>
                </a:lnTo>
                <a:lnTo>
                  <a:pt x="6282" y="2540000"/>
                </a:lnTo>
                <a:lnTo>
                  <a:pt x="3543" y="2489200"/>
                </a:lnTo>
                <a:lnTo>
                  <a:pt x="1578" y="2438400"/>
                </a:lnTo>
                <a:lnTo>
                  <a:pt x="395" y="2387600"/>
                </a:lnTo>
                <a:lnTo>
                  <a:pt x="0" y="2349500"/>
                </a:lnTo>
                <a:lnTo>
                  <a:pt x="395" y="2298700"/>
                </a:lnTo>
                <a:lnTo>
                  <a:pt x="1578" y="2247900"/>
                </a:lnTo>
                <a:lnTo>
                  <a:pt x="3543" y="2197100"/>
                </a:lnTo>
                <a:lnTo>
                  <a:pt x="6282" y="2146300"/>
                </a:lnTo>
                <a:lnTo>
                  <a:pt x="9790" y="2108200"/>
                </a:lnTo>
                <a:lnTo>
                  <a:pt x="14061" y="2057400"/>
                </a:lnTo>
                <a:lnTo>
                  <a:pt x="19089" y="2006600"/>
                </a:lnTo>
                <a:lnTo>
                  <a:pt x="24867" y="1968500"/>
                </a:lnTo>
                <a:lnTo>
                  <a:pt x="31390" y="1917700"/>
                </a:lnTo>
                <a:lnTo>
                  <a:pt x="38651" y="1866900"/>
                </a:lnTo>
                <a:lnTo>
                  <a:pt x="46644" y="1828800"/>
                </a:lnTo>
                <a:lnTo>
                  <a:pt x="55363" y="1778000"/>
                </a:lnTo>
                <a:lnTo>
                  <a:pt x="64801" y="1727200"/>
                </a:lnTo>
                <a:lnTo>
                  <a:pt x="74954" y="1689100"/>
                </a:lnTo>
                <a:lnTo>
                  <a:pt x="85813" y="1638300"/>
                </a:lnTo>
                <a:lnTo>
                  <a:pt x="97375" y="1600200"/>
                </a:lnTo>
                <a:lnTo>
                  <a:pt x="109631" y="1549400"/>
                </a:lnTo>
                <a:lnTo>
                  <a:pt x="122576" y="1511300"/>
                </a:lnTo>
                <a:lnTo>
                  <a:pt x="136205" y="1460500"/>
                </a:lnTo>
                <a:lnTo>
                  <a:pt x="150510" y="1422400"/>
                </a:lnTo>
                <a:lnTo>
                  <a:pt x="165486" y="1371600"/>
                </a:lnTo>
                <a:lnTo>
                  <a:pt x="181126" y="1333500"/>
                </a:lnTo>
                <a:lnTo>
                  <a:pt x="197425" y="1295400"/>
                </a:lnTo>
                <a:lnTo>
                  <a:pt x="214375" y="1244600"/>
                </a:lnTo>
                <a:lnTo>
                  <a:pt x="231972" y="1206500"/>
                </a:lnTo>
                <a:lnTo>
                  <a:pt x="250209" y="1168400"/>
                </a:lnTo>
                <a:lnTo>
                  <a:pt x="269080" y="1117600"/>
                </a:lnTo>
                <a:lnTo>
                  <a:pt x="288578" y="1079500"/>
                </a:lnTo>
                <a:lnTo>
                  <a:pt x="308698" y="1041400"/>
                </a:lnTo>
                <a:lnTo>
                  <a:pt x="329433" y="1003300"/>
                </a:lnTo>
                <a:lnTo>
                  <a:pt x="350777" y="965200"/>
                </a:lnTo>
                <a:lnTo>
                  <a:pt x="372725" y="927100"/>
                </a:lnTo>
                <a:lnTo>
                  <a:pt x="395269" y="876300"/>
                </a:lnTo>
                <a:lnTo>
                  <a:pt x="418404" y="838200"/>
                </a:lnTo>
                <a:lnTo>
                  <a:pt x="442124" y="800100"/>
                </a:lnTo>
                <a:lnTo>
                  <a:pt x="466422" y="762000"/>
                </a:lnTo>
                <a:lnTo>
                  <a:pt x="491293" y="723900"/>
                </a:lnTo>
                <a:lnTo>
                  <a:pt x="516730" y="698500"/>
                </a:lnTo>
                <a:lnTo>
                  <a:pt x="542726" y="660400"/>
                </a:lnTo>
                <a:lnTo>
                  <a:pt x="569277" y="622300"/>
                </a:lnTo>
                <a:lnTo>
                  <a:pt x="596376" y="584200"/>
                </a:lnTo>
                <a:lnTo>
                  <a:pt x="624016" y="546100"/>
                </a:lnTo>
                <a:lnTo>
                  <a:pt x="652192" y="508000"/>
                </a:lnTo>
                <a:lnTo>
                  <a:pt x="680897" y="482600"/>
                </a:lnTo>
                <a:lnTo>
                  <a:pt x="710125" y="444500"/>
                </a:lnTo>
                <a:lnTo>
                  <a:pt x="739870" y="406400"/>
                </a:lnTo>
                <a:lnTo>
                  <a:pt x="770127" y="381000"/>
                </a:lnTo>
                <a:lnTo>
                  <a:pt x="800888" y="342900"/>
                </a:lnTo>
                <a:lnTo>
                  <a:pt x="832147" y="317500"/>
                </a:lnTo>
                <a:lnTo>
                  <a:pt x="863900" y="279400"/>
                </a:lnTo>
                <a:lnTo>
                  <a:pt x="896138" y="254000"/>
                </a:lnTo>
                <a:lnTo>
                  <a:pt x="928857" y="215900"/>
                </a:lnTo>
                <a:lnTo>
                  <a:pt x="962049" y="190500"/>
                </a:lnTo>
                <a:lnTo>
                  <a:pt x="995710" y="152400"/>
                </a:lnTo>
                <a:lnTo>
                  <a:pt x="1064411" y="101600"/>
                </a:lnTo>
                <a:lnTo>
                  <a:pt x="1134909" y="50800"/>
                </a:lnTo>
                <a:lnTo>
                  <a:pt x="1170817" y="12700"/>
                </a:lnTo>
                <a:lnTo>
                  <a:pt x="1197549" y="0"/>
                </a:lnTo>
                <a:lnTo>
                  <a:pt x="4592702" y="0"/>
                </a:lnTo>
                <a:lnTo>
                  <a:pt x="4619433" y="12700"/>
                </a:lnTo>
                <a:lnTo>
                  <a:pt x="4655341" y="50800"/>
                </a:lnTo>
                <a:lnTo>
                  <a:pt x="4725840" y="101600"/>
                </a:lnTo>
                <a:lnTo>
                  <a:pt x="4794541" y="152400"/>
                </a:lnTo>
                <a:lnTo>
                  <a:pt x="4828201" y="190500"/>
                </a:lnTo>
                <a:lnTo>
                  <a:pt x="4861394" y="215900"/>
                </a:lnTo>
                <a:lnTo>
                  <a:pt x="4894113" y="254000"/>
                </a:lnTo>
                <a:lnTo>
                  <a:pt x="4926351" y="279400"/>
                </a:lnTo>
                <a:lnTo>
                  <a:pt x="4958103" y="317500"/>
                </a:lnTo>
                <a:lnTo>
                  <a:pt x="4989363" y="342900"/>
                </a:lnTo>
                <a:lnTo>
                  <a:pt x="5020124" y="381000"/>
                </a:lnTo>
                <a:lnTo>
                  <a:pt x="5050380" y="406400"/>
                </a:lnTo>
                <a:lnTo>
                  <a:pt x="5080126" y="444500"/>
                </a:lnTo>
                <a:lnTo>
                  <a:pt x="5109354" y="482600"/>
                </a:lnTo>
                <a:lnTo>
                  <a:pt x="5138059" y="508000"/>
                </a:lnTo>
                <a:lnTo>
                  <a:pt x="5166235" y="546100"/>
                </a:lnTo>
                <a:lnTo>
                  <a:pt x="5193875" y="584200"/>
                </a:lnTo>
                <a:lnTo>
                  <a:pt x="5220973" y="622300"/>
                </a:lnTo>
                <a:lnTo>
                  <a:pt x="5247524" y="660400"/>
                </a:lnTo>
                <a:lnTo>
                  <a:pt x="5273521" y="698500"/>
                </a:lnTo>
                <a:lnTo>
                  <a:pt x="5298958" y="723900"/>
                </a:lnTo>
                <a:lnTo>
                  <a:pt x="5323829" y="762000"/>
                </a:lnTo>
                <a:lnTo>
                  <a:pt x="5348127" y="800100"/>
                </a:lnTo>
                <a:lnTo>
                  <a:pt x="5371847" y="838200"/>
                </a:lnTo>
                <a:lnTo>
                  <a:pt x="5394982" y="876300"/>
                </a:lnTo>
                <a:lnTo>
                  <a:pt x="5417526" y="927100"/>
                </a:lnTo>
                <a:lnTo>
                  <a:pt x="5439473" y="965200"/>
                </a:lnTo>
                <a:lnTo>
                  <a:pt x="5460818" y="1003300"/>
                </a:lnTo>
                <a:lnTo>
                  <a:pt x="5481553" y="1041400"/>
                </a:lnTo>
                <a:lnTo>
                  <a:pt x="5501673" y="1079500"/>
                </a:lnTo>
                <a:lnTo>
                  <a:pt x="5521171" y="1117600"/>
                </a:lnTo>
                <a:lnTo>
                  <a:pt x="5540042" y="1168400"/>
                </a:lnTo>
                <a:lnTo>
                  <a:pt x="5558278" y="1206500"/>
                </a:lnTo>
                <a:lnTo>
                  <a:pt x="5575875" y="1244600"/>
                </a:lnTo>
                <a:lnTo>
                  <a:pt x="5592826" y="1295400"/>
                </a:lnTo>
                <a:lnTo>
                  <a:pt x="5609125" y="1333500"/>
                </a:lnTo>
                <a:lnTo>
                  <a:pt x="5624765" y="1371600"/>
                </a:lnTo>
                <a:lnTo>
                  <a:pt x="5639741" y="1422400"/>
                </a:lnTo>
                <a:lnTo>
                  <a:pt x="5654046" y="1460500"/>
                </a:lnTo>
                <a:lnTo>
                  <a:pt x="5667674" y="1511300"/>
                </a:lnTo>
                <a:lnTo>
                  <a:pt x="5680620" y="1549400"/>
                </a:lnTo>
                <a:lnTo>
                  <a:pt x="5692876" y="1600200"/>
                </a:lnTo>
                <a:lnTo>
                  <a:pt x="5704437" y="1638300"/>
                </a:lnTo>
                <a:lnTo>
                  <a:pt x="5715297" y="1689100"/>
                </a:lnTo>
                <a:lnTo>
                  <a:pt x="5725449" y="1727200"/>
                </a:lnTo>
                <a:lnTo>
                  <a:pt x="5734888" y="1778000"/>
                </a:lnTo>
                <a:lnTo>
                  <a:pt x="5743607" y="1828800"/>
                </a:lnTo>
                <a:lnTo>
                  <a:pt x="5751600" y="1866900"/>
                </a:lnTo>
                <a:lnTo>
                  <a:pt x="5758861" y="1917700"/>
                </a:lnTo>
                <a:lnTo>
                  <a:pt x="5765383" y="1968500"/>
                </a:lnTo>
                <a:lnTo>
                  <a:pt x="5771162" y="2006600"/>
                </a:lnTo>
                <a:lnTo>
                  <a:pt x="5776189" y="2057400"/>
                </a:lnTo>
                <a:lnTo>
                  <a:pt x="5780460" y="2108200"/>
                </a:lnTo>
                <a:lnTo>
                  <a:pt x="5783969" y="2146300"/>
                </a:lnTo>
                <a:lnTo>
                  <a:pt x="5786708" y="2197100"/>
                </a:lnTo>
                <a:lnTo>
                  <a:pt x="5788672" y="2247900"/>
                </a:lnTo>
                <a:lnTo>
                  <a:pt x="5789856" y="2298700"/>
                </a:lnTo>
                <a:lnTo>
                  <a:pt x="5790251" y="2349500"/>
                </a:lnTo>
                <a:lnTo>
                  <a:pt x="5789856" y="2387600"/>
                </a:lnTo>
                <a:lnTo>
                  <a:pt x="5788672" y="2438400"/>
                </a:lnTo>
                <a:lnTo>
                  <a:pt x="5786708" y="2489200"/>
                </a:lnTo>
                <a:lnTo>
                  <a:pt x="5783969" y="2540000"/>
                </a:lnTo>
                <a:lnTo>
                  <a:pt x="5780460" y="2578100"/>
                </a:lnTo>
                <a:lnTo>
                  <a:pt x="5776189" y="2628900"/>
                </a:lnTo>
                <a:lnTo>
                  <a:pt x="5771162" y="2679700"/>
                </a:lnTo>
                <a:lnTo>
                  <a:pt x="5765383" y="2730500"/>
                </a:lnTo>
                <a:lnTo>
                  <a:pt x="5758861" y="2768600"/>
                </a:lnTo>
                <a:lnTo>
                  <a:pt x="5751600" y="2819400"/>
                </a:lnTo>
                <a:lnTo>
                  <a:pt x="5743607" y="2870200"/>
                </a:lnTo>
                <a:lnTo>
                  <a:pt x="5734888" y="2908300"/>
                </a:lnTo>
                <a:lnTo>
                  <a:pt x="5725449" y="2959100"/>
                </a:lnTo>
                <a:lnTo>
                  <a:pt x="5715297" y="2997200"/>
                </a:lnTo>
                <a:lnTo>
                  <a:pt x="5704437" y="3048000"/>
                </a:lnTo>
                <a:lnTo>
                  <a:pt x="5692876" y="3086100"/>
                </a:lnTo>
                <a:lnTo>
                  <a:pt x="5680620" y="3136900"/>
                </a:lnTo>
                <a:lnTo>
                  <a:pt x="5667674" y="3175000"/>
                </a:lnTo>
                <a:lnTo>
                  <a:pt x="5654046" y="3225800"/>
                </a:lnTo>
                <a:lnTo>
                  <a:pt x="5639741" y="3263900"/>
                </a:lnTo>
                <a:lnTo>
                  <a:pt x="5624765" y="3314700"/>
                </a:lnTo>
                <a:lnTo>
                  <a:pt x="5609125" y="3352800"/>
                </a:lnTo>
                <a:lnTo>
                  <a:pt x="5592826" y="3390900"/>
                </a:lnTo>
                <a:lnTo>
                  <a:pt x="5575875" y="3441700"/>
                </a:lnTo>
                <a:lnTo>
                  <a:pt x="5558278" y="3479800"/>
                </a:lnTo>
                <a:lnTo>
                  <a:pt x="5540042" y="3517900"/>
                </a:lnTo>
                <a:lnTo>
                  <a:pt x="5521171" y="3568700"/>
                </a:lnTo>
                <a:lnTo>
                  <a:pt x="5501673" y="3606800"/>
                </a:lnTo>
                <a:lnTo>
                  <a:pt x="5481553" y="3644900"/>
                </a:lnTo>
                <a:lnTo>
                  <a:pt x="5460818" y="3683000"/>
                </a:lnTo>
                <a:lnTo>
                  <a:pt x="5439473" y="3721100"/>
                </a:lnTo>
                <a:lnTo>
                  <a:pt x="5417526" y="3771900"/>
                </a:lnTo>
                <a:lnTo>
                  <a:pt x="5394982" y="3810000"/>
                </a:lnTo>
                <a:lnTo>
                  <a:pt x="5371847" y="3848100"/>
                </a:lnTo>
                <a:lnTo>
                  <a:pt x="5348127" y="3886200"/>
                </a:lnTo>
                <a:lnTo>
                  <a:pt x="5323829" y="3924300"/>
                </a:lnTo>
                <a:lnTo>
                  <a:pt x="5298958" y="3962400"/>
                </a:lnTo>
                <a:lnTo>
                  <a:pt x="5273521" y="4000500"/>
                </a:lnTo>
                <a:lnTo>
                  <a:pt x="5247524" y="4025900"/>
                </a:lnTo>
                <a:lnTo>
                  <a:pt x="5220973" y="4064000"/>
                </a:lnTo>
                <a:lnTo>
                  <a:pt x="5193875" y="4102100"/>
                </a:lnTo>
                <a:lnTo>
                  <a:pt x="5166235" y="4140200"/>
                </a:lnTo>
                <a:lnTo>
                  <a:pt x="5138059" y="4178300"/>
                </a:lnTo>
                <a:lnTo>
                  <a:pt x="5109354" y="4203700"/>
                </a:lnTo>
                <a:lnTo>
                  <a:pt x="5080126" y="4241800"/>
                </a:lnTo>
                <a:lnTo>
                  <a:pt x="5050380" y="4279900"/>
                </a:lnTo>
                <a:lnTo>
                  <a:pt x="5020124" y="4305300"/>
                </a:lnTo>
                <a:lnTo>
                  <a:pt x="4989363" y="4343400"/>
                </a:lnTo>
                <a:lnTo>
                  <a:pt x="4958103" y="4368800"/>
                </a:lnTo>
                <a:lnTo>
                  <a:pt x="4926351" y="4406900"/>
                </a:lnTo>
                <a:lnTo>
                  <a:pt x="4894113" y="4432300"/>
                </a:lnTo>
                <a:lnTo>
                  <a:pt x="4861394" y="4470400"/>
                </a:lnTo>
                <a:lnTo>
                  <a:pt x="4828201" y="4495800"/>
                </a:lnTo>
                <a:lnTo>
                  <a:pt x="4794541" y="4533900"/>
                </a:lnTo>
                <a:lnTo>
                  <a:pt x="4760418" y="4559300"/>
                </a:lnTo>
                <a:lnTo>
                  <a:pt x="4690812" y="4610100"/>
                </a:lnTo>
                <a:lnTo>
                  <a:pt x="4655341" y="4648200"/>
                </a:lnTo>
                <a:lnTo>
                  <a:pt x="4619433" y="4673600"/>
                </a:lnTo>
                <a:lnTo>
                  <a:pt x="4546330" y="4724400"/>
                </a:lnTo>
                <a:lnTo>
                  <a:pt x="4471552" y="4775200"/>
                </a:lnTo>
                <a:lnTo>
                  <a:pt x="4395147" y="4826000"/>
                </a:lnTo>
                <a:lnTo>
                  <a:pt x="4356351" y="4838700"/>
                </a:lnTo>
                <a:lnTo>
                  <a:pt x="4237657" y="4914900"/>
                </a:lnTo>
                <a:lnTo>
                  <a:pt x="4197345" y="4927600"/>
                </a:lnTo>
                <a:lnTo>
                  <a:pt x="4156670" y="4953000"/>
                </a:lnTo>
                <a:lnTo>
                  <a:pt x="4115637" y="4965700"/>
                </a:lnTo>
                <a:lnTo>
                  <a:pt x="4074253" y="4991100"/>
                </a:lnTo>
                <a:lnTo>
                  <a:pt x="4032524" y="5003800"/>
                </a:lnTo>
                <a:lnTo>
                  <a:pt x="3990457" y="5029200"/>
                </a:lnTo>
                <a:lnTo>
                  <a:pt x="3862281" y="5067300"/>
                </a:lnTo>
                <a:lnTo>
                  <a:pt x="3818919" y="5092700"/>
                </a:lnTo>
                <a:lnTo>
                  <a:pt x="3552489" y="5168900"/>
                </a:lnTo>
                <a:close/>
              </a:path>
              <a:path w="5790565" h="5232400">
                <a:moveTo>
                  <a:pt x="3415528" y="5194300"/>
                </a:moveTo>
                <a:lnTo>
                  <a:pt x="2374723" y="5194300"/>
                </a:lnTo>
                <a:lnTo>
                  <a:pt x="2283152" y="5168900"/>
                </a:lnTo>
                <a:lnTo>
                  <a:pt x="3507098" y="5168900"/>
                </a:lnTo>
                <a:lnTo>
                  <a:pt x="3415528" y="5194300"/>
                </a:lnTo>
                <a:close/>
              </a:path>
              <a:path w="5790565" h="5232400">
                <a:moveTo>
                  <a:pt x="3276291" y="5219700"/>
                </a:moveTo>
                <a:lnTo>
                  <a:pt x="2513960" y="5219700"/>
                </a:lnTo>
                <a:lnTo>
                  <a:pt x="2420890" y="5194300"/>
                </a:lnTo>
                <a:lnTo>
                  <a:pt x="3369360" y="5194300"/>
                </a:lnTo>
                <a:lnTo>
                  <a:pt x="3276291" y="5219700"/>
                </a:lnTo>
                <a:close/>
              </a:path>
              <a:path w="5790565" h="5232400">
                <a:moveTo>
                  <a:pt x="3134943" y="5232400"/>
                </a:moveTo>
                <a:lnTo>
                  <a:pt x="2655307" y="5232400"/>
                </a:lnTo>
                <a:lnTo>
                  <a:pt x="2607967" y="5219700"/>
                </a:lnTo>
                <a:lnTo>
                  <a:pt x="3182283" y="5219700"/>
                </a:lnTo>
                <a:lnTo>
                  <a:pt x="3134943" y="5232400"/>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sp>
        <p:nvSpPr>
          <p:cNvPr id="4" name="object 4"/>
          <p:cNvSpPr txBox="1">
            <a:spLocks noGrp="1"/>
          </p:cNvSpPr>
          <p:nvPr>
            <p:ph type="title"/>
          </p:nvPr>
        </p:nvSpPr>
        <p:spPr>
          <a:xfrm>
            <a:off x="1273520" y="664634"/>
            <a:ext cx="2684780" cy="1786814"/>
          </a:xfrm>
          <a:prstGeom prst="rect">
            <a:avLst/>
          </a:prstGeom>
        </p:spPr>
        <p:txBody>
          <a:bodyPr vert="horz" wrap="square" lIns="0" tIns="93133" rIns="0" bIns="0" rtlCol="0">
            <a:spAutoFit/>
          </a:bodyPr>
          <a:lstStyle/>
          <a:p>
            <a:pPr marL="8467" marR="3387" indent="629527">
              <a:lnSpc>
                <a:spcPts val="6600"/>
              </a:lnSpc>
              <a:spcBef>
                <a:spcPts val="733"/>
              </a:spcBef>
            </a:pPr>
            <a:r>
              <a:rPr spc="100" dirty="0">
                <a:solidFill>
                  <a:srgbClr val="F5F5F5"/>
                </a:solidFill>
              </a:rPr>
              <a:t>Our </a:t>
            </a:r>
            <a:r>
              <a:rPr spc="-7" dirty="0">
                <a:solidFill>
                  <a:srgbClr val="F5F5F5"/>
                </a:solidFill>
              </a:rPr>
              <a:t>Mission</a:t>
            </a:r>
          </a:p>
        </p:txBody>
      </p:sp>
      <p:sp>
        <p:nvSpPr>
          <p:cNvPr id="5" name="object 5"/>
          <p:cNvSpPr txBox="1"/>
          <p:nvPr/>
        </p:nvSpPr>
        <p:spPr>
          <a:xfrm>
            <a:off x="668635" y="3980881"/>
            <a:ext cx="4745989" cy="2464243"/>
          </a:xfrm>
          <a:prstGeom prst="rect">
            <a:avLst/>
          </a:prstGeom>
        </p:spPr>
        <p:txBody>
          <a:bodyPr vert="horz" wrap="square" lIns="0" tIns="8043" rIns="0" bIns="0" rtlCol="0">
            <a:spAutoFit/>
          </a:bodyPr>
          <a:lstStyle/>
          <a:p>
            <a:pPr marL="8467" marR="3387" algn="ctr" defTabSz="609630">
              <a:lnSpc>
                <a:spcPct val="116100"/>
              </a:lnSpc>
              <a:spcBef>
                <a:spcPts val="63"/>
              </a:spcBef>
            </a:pPr>
            <a:r>
              <a:rPr sz="2333" kern="0" dirty="0">
                <a:solidFill>
                  <a:srgbClr val="575757"/>
                </a:solidFill>
                <a:latin typeface="Tahoma"/>
                <a:cs typeface="Tahoma"/>
              </a:rPr>
              <a:t>To</a:t>
            </a:r>
            <a:r>
              <a:rPr sz="2333" kern="0" spc="-83" dirty="0">
                <a:solidFill>
                  <a:srgbClr val="575757"/>
                </a:solidFill>
                <a:latin typeface="Tahoma"/>
                <a:cs typeface="Tahoma"/>
              </a:rPr>
              <a:t> </a:t>
            </a:r>
            <a:r>
              <a:rPr sz="2333" kern="0" dirty="0">
                <a:solidFill>
                  <a:srgbClr val="575757"/>
                </a:solidFill>
                <a:latin typeface="Tahoma"/>
                <a:cs typeface="Tahoma"/>
              </a:rPr>
              <a:t>provide</a:t>
            </a:r>
            <a:r>
              <a:rPr sz="2333" kern="0" spc="-76" dirty="0">
                <a:solidFill>
                  <a:srgbClr val="575757"/>
                </a:solidFill>
                <a:latin typeface="Tahoma"/>
                <a:cs typeface="Tahoma"/>
              </a:rPr>
              <a:t> </a:t>
            </a:r>
            <a:r>
              <a:rPr sz="2333" kern="0" spc="-7" dirty="0">
                <a:solidFill>
                  <a:srgbClr val="575757"/>
                </a:solidFill>
                <a:latin typeface="Tahoma"/>
                <a:cs typeface="Tahoma"/>
              </a:rPr>
              <a:t>concordant,</a:t>
            </a:r>
            <a:r>
              <a:rPr sz="2333" kern="0" spc="-73" dirty="0">
                <a:solidFill>
                  <a:srgbClr val="575757"/>
                </a:solidFill>
                <a:latin typeface="Tahoma"/>
                <a:cs typeface="Tahoma"/>
              </a:rPr>
              <a:t> </a:t>
            </a:r>
            <a:r>
              <a:rPr sz="2333" kern="0" spc="-7" dirty="0">
                <a:solidFill>
                  <a:srgbClr val="575757"/>
                </a:solidFill>
                <a:latin typeface="Tahoma"/>
                <a:cs typeface="Tahoma"/>
              </a:rPr>
              <a:t>culturally </a:t>
            </a:r>
            <a:r>
              <a:rPr sz="2333" kern="0" spc="-50" dirty="0">
                <a:solidFill>
                  <a:srgbClr val="575757"/>
                </a:solidFill>
                <a:latin typeface="Tahoma"/>
                <a:cs typeface="Tahoma"/>
              </a:rPr>
              <a:t>safe,</a:t>
            </a:r>
            <a:r>
              <a:rPr sz="2333" kern="0" spc="-67" dirty="0">
                <a:solidFill>
                  <a:srgbClr val="575757"/>
                </a:solidFill>
                <a:latin typeface="Tahoma"/>
                <a:cs typeface="Tahoma"/>
              </a:rPr>
              <a:t> </a:t>
            </a:r>
            <a:r>
              <a:rPr sz="2333" kern="0" dirty="0">
                <a:solidFill>
                  <a:srgbClr val="575757"/>
                </a:solidFill>
                <a:latin typeface="Tahoma"/>
                <a:cs typeface="Tahoma"/>
              </a:rPr>
              <a:t>evidence</a:t>
            </a:r>
            <a:r>
              <a:rPr sz="2333" kern="0" spc="-67" dirty="0">
                <a:solidFill>
                  <a:srgbClr val="575757"/>
                </a:solidFill>
                <a:latin typeface="Tahoma"/>
                <a:cs typeface="Tahoma"/>
              </a:rPr>
              <a:t> </a:t>
            </a:r>
            <a:r>
              <a:rPr sz="2333" kern="0" spc="-17" dirty="0">
                <a:solidFill>
                  <a:srgbClr val="575757"/>
                </a:solidFill>
                <a:latin typeface="Tahoma"/>
                <a:cs typeface="Tahoma"/>
              </a:rPr>
              <a:t>based</a:t>
            </a:r>
            <a:r>
              <a:rPr sz="2333" kern="0" spc="-63" dirty="0">
                <a:solidFill>
                  <a:srgbClr val="575757"/>
                </a:solidFill>
                <a:latin typeface="Tahoma"/>
                <a:cs typeface="Tahoma"/>
              </a:rPr>
              <a:t> </a:t>
            </a:r>
            <a:r>
              <a:rPr sz="2333" kern="0" dirty="0">
                <a:solidFill>
                  <a:srgbClr val="575757"/>
                </a:solidFill>
                <a:latin typeface="Tahoma"/>
                <a:cs typeface="Tahoma"/>
              </a:rPr>
              <a:t>midwifery</a:t>
            </a:r>
            <a:r>
              <a:rPr sz="2333" kern="0" spc="-67" dirty="0">
                <a:solidFill>
                  <a:srgbClr val="575757"/>
                </a:solidFill>
                <a:latin typeface="Tahoma"/>
                <a:cs typeface="Tahoma"/>
              </a:rPr>
              <a:t> </a:t>
            </a:r>
            <a:r>
              <a:rPr sz="2333" kern="0" spc="-13" dirty="0">
                <a:solidFill>
                  <a:srgbClr val="575757"/>
                </a:solidFill>
                <a:latin typeface="Tahoma"/>
                <a:cs typeface="Tahoma"/>
              </a:rPr>
              <a:t>care alongside</a:t>
            </a:r>
            <a:r>
              <a:rPr sz="2333" kern="0" spc="-157" dirty="0">
                <a:solidFill>
                  <a:srgbClr val="575757"/>
                </a:solidFill>
                <a:latin typeface="Tahoma"/>
                <a:cs typeface="Tahoma"/>
              </a:rPr>
              <a:t> </a:t>
            </a:r>
            <a:r>
              <a:rPr sz="2333" kern="0" dirty="0">
                <a:solidFill>
                  <a:srgbClr val="575757"/>
                </a:solidFill>
                <a:latin typeface="Tahoma"/>
                <a:cs typeface="Tahoma"/>
              </a:rPr>
              <a:t>families</a:t>
            </a:r>
            <a:r>
              <a:rPr sz="2333" kern="0" spc="-157" dirty="0">
                <a:solidFill>
                  <a:srgbClr val="575757"/>
                </a:solidFill>
                <a:latin typeface="Tahoma"/>
                <a:cs typeface="Tahoma"/>
              </a:rPr>
              <a:t> </a:t>
            </a:r>
            <a:r>
              <a:rPr sz="2333" kern="0" spc="-13" dirty="0">
                <a:solidFill>
                  <a:srgbClr val="575757"/>
                </a:solidFill>
                <a:latin typeface="Tahoma"/>
                <a:cs typeface="Tahoma"/>
              </a:rPr>
              <a:t>and</a:t>
            </a:r>
            <a:r>
              <a:rPr sz="2333" kern="0" spc="-157" dirty="0">
                <a:solidFill>
                  <a:srgbClr val="575757"/>
                </a:solidFill>
                <a:latin typeface="Tahoma"/>
                <a:cs typeface="Tahoma"/>
              </a:rPr>
              <a:t> </a:t>
            </a:r>
            <a:r>
              <a:rPr sz="2333" kern="0" spc="-7" dirty="0">
                <a:solidFill>
                  <a:srgbClr val="575757"/>
                </a:solidFill>
                <a:latin typeface="Tahoma"/>
                <a:cs typeface="Tahoma"/>
              </a:rPr>
              <a:t>within </a:t>
            </a:r>
            <a:r>
              <a:rPr sz="2333" kern="0" dirty="0">
                <a:solidFill>
                  <a:srgbClr val="575757"/>
                </a:solidFill>
                <a:latin typeface="Tahoma"/>
                <a:cs typeface="Tahoma"/>
              </a:rPr>
              <a:t>community</a:t>
            </a:r>
            <a:r>
              <a:rPr sz="2333" kern="0" spc="-83" dirty="0">
                <a:solidFill>
                  <a:srgbClr val="575757"/>
                </a:solidFill>
                <a:latin typeface="Tahoma"/>
                <a:cs typeface="Tahoma"/>
              </a:rPr>
              <a:t> </a:t>
            </a:r>
            <a:r>
              <a:rPr sz="2333" kern="0" spc="47" dirty="0">
                <a:solidFill>
                  <a:srgbClr val="575757"/>
                </a:solidFill>
                <a:latin typeface="Tahoma"/>
                <a:cs typeface="Tahoma"/>
              </a:rPr>
              <a:t>to</a:t>
            </a:r>
            <a:r>
              <a:rPr sz="2333" kern="0" spc="-83" dirty="0">
                <a:solidFill>
                  <a:srgbClr val="575757"/>
                </a:solidFill>
                <a:latin typeface="Tahoma"/>
                <a:cs typeface="Tahoma"/>
              </a:rPr>
              <a:t> </a:t>
            </a:r>
            <a:r>
              <a:rPr sz="2333" kern="0" dirty="0">
                <a:solidFill>
                  <a:srgbClr val="575757"/>
                </a:solidFill>
                <a:latin typeface="Tahoma"/>
                <a:cs typeface="Tahoma"/>
              </a:rPr>
              <a:t>improve</a:t>
            </a:r>
            <a:r>
              <a:rPr sz="2333" kern="0" spc="-83" dirty="0">
                <a:solidFill>
                  <a:srgbClr val="575757"/>
                </a:solidFill>
                <a:latin typeface="Tahoma"/>
                <a:cs typeface="Tahoma"/>
              </a:rPr>
              <a:t> </a:t>
            </a:r>
            <a:r>
              <a:rPr sz="2333" kern="0" spc="-7" dirty="0">
                <a:solidFill>
                  <a:srgbClr val="575757"/>
                </a:solidFill>
                <a:latin typeface="Tahoma"/>
                <a:cs typeface="Tahoma"/>
              </a:rPr>
              <a:t>outcomes, </a:t>
            </a:r>
            <a:r>
              <a:rPr sz="2333" kern="0" dirty="0">
                <a:solidFill>
                  <a:srgbClr val="575757"/>
                </a:solidFill>
                <a:latin typeface="Tahoma"/>
                <a:cs typeface="Tahoma"/>
              </a:rPr>
              <a:t>promote</a:t>
            </a:r>
            <a:r>
              <a:rPr sz="2333" kern="0" spc="-113" dirty="0">
                <a:solidFill>
                  <a:srgbClr val="575757"/>
                </a:solidFill>
                <a:latin typeface="Tahoma"/>
                <a:cs typeface="Tahoma"/>
              </a:rPr>
              <a:t> </a:t>
            </a:r>
            <a:r>
              <a:rPr sz="2333" kern="0" spc="-20" dirty="0">
                <a:solidFill>
                  <a:srgbClr val="575757"/>
                </a:solidFill>
                <a:latin typeface="Tahoma"/>
                <a:cs typeface="Tahoma"/>
              </a:rPr>
              <a:t>wellness,</a:t>
            </a:r>
            <a:r>
              <a:rPr sz="2333" kern="0" spc="-113" dirty="0">
                <a:solidFill>
                  <a:srgbClr val="575757"/>
                </a:solidFill>
                <a:latin typeface="Tahoma"/>
                <a:cs typeface="Tahoma"/>
              </a:rPr>
              <a:t> </a:t>
            </a:r>
            <a:r>
              <a:rPr sz="2333" kern="0" spc="-13" dirty="0">
                <a:solidFill>
                  <a:srgbClr val="575757"/>
                </a:solidFill>
                <a:latin typeface="Tahoma"/>
                <a:cs typeface="Tahoma"/>
              </a:rPr>
              <a:t>and</a:t>
            </a:r>
            <a:r>
              <a:rPr sz="2333" kern="0" spc="-113" dirty="0">
                <a:solidFill>
                  <a:srgbClr val="575757"/>
                </a:solidFill>
                <a:latin typeface="Tahoma"/>
                <a:cs typeface="Tahoma"/>
              </a:rPr>
              <a:t> </a:t>
            </a:r>
            <a:r>
              <a:rPr sz="2333" kern="0" spc="-13" dirty="0">
                <a:solidFill>
                  <a:srgbClr val="575757"/>
                </a:solidFill>
                <a:latin typeface="Tahoma"/>
                <a:cs typeface="Tahoma"/>
              </a:rPr>
              <a:t>abundance</a:t>
            </a:r>
            <a:r>
              <a:rPr sz="2333" kern="0" spc="-110" dirty="0">
                <a:solidFill>
                  <a:srgbClr val="575757"/>
                </a:solidFill>
                <a:latin typeface="Tahoma"/>
                <a:cs typeface="Tahoma"/>
              </a:rPr>
              <a:t> </a:t>
            </a:r>
            <a:r>
              <a:rPr sz="2333" kern="0" spc="-17" dirty="0">
                <a:solidFill>
                  <a:srgbClr val="575757"/>
                </a:solidFill>
                <a:latin typeface="Tahoma"/>
                <a:cs typeface="Tahoma"/>
              </a:rPr>
              <a:t>in </a:t>
            </a:r>
            <a:r>
              <a:rPr sz="2333" kern="0" dirty="0">
                <a:solidFill>
                  <a:srgbClr val="575757"/>
                </a:solidFill>
                <a:latin typeface="Tahoma"/>
                <a:cs typeface="Tahoma"/>
              </a:rPr>
              <a:t>whole</a:t>
            </a:r>
            <a:r>
              <a:rPr sz="2333" kern="0" spc="7" dirty="0">
                <a:solidFill>
                  <a:srgbClr val="575757"/>
                </a:solidFill>
                <a:latin typeface="Tahoma"/>
                <a:cs typeface="Tahoma"/>
              </a:rPr>
              <a:t> </a:t>
            </a:r>
            <a:r>
              <a:rPr sz="2333" kern="0" spc="-7" dirty="0">
                <a:solidFill>
                  <a:srgbClr val="575757"/>
                </a:solidFill>
                <a:latin typeface="Tahoma"/>
                <a:cs typeface="Tahoma"/>
              </a:rPr>
              <a:t>health.</a:t>
            </a:r>
            <a:endParaRPr sz="2333" kern="0">
              <a:solidFill>
                <a:sysClr val="windowText" lastClr="000000"/>
              </a:solidFill>
              <a:latin typeface="Tahoma"/>
              <a:cs typeface="Tahoma"/>
            </a:endParaRPr>
          </a:p>
        </p:txBody>
      </p:sp>
      <p:sp>
        <p:nvSpPr>
          <p:cNvPr id="6" name="object 6"/>
          <p:cNvSpPr/>
          <p:nvPr/>
        </p:nvSpPr>
        <p:spPr>
          <a:xfrm>
            <a:off x="5495063" y="1423654"/>
            <a:ext cx="1202267" cy="1202267"/>
          </a:xfrm>
          <a:custGeom>
            <a:avLst/>
            <a:gdLst/>
            <a:ahLst/>
            <a:cxnLst/>
            <a:rect l="l" t="t" r="r" b="b"/>
            <a:pathLst>
              <a:path w="1803400" h="1803400">
                <a:moveTo>
                  <a:pt x="901405" y="1802810"/>
                </a:moveTo>
                <a:lnTo>
                  <a:pt x="853533" y="1801561"/>
                </a:lnTo>
                <a:lnTo>
                  <a:pt x="806311" y="1797854"/>
                </a:lnTo>
                <a:lnTo>
                  <a:pt x="759802" y="1791752"/>
                </a:lnTo>
                <a:lnTo>
                  <a:pt x="714068" y="1783317"/>
                </a:lnTo>
                <a:lnTo>
                  <a:pt x="669173" y="1772612"/>
                </a:lnTo>
                <a:lnTo>
                  <a:pt x="625177" y="1759698"/>
                </a:lnTo>
                <a:lnTo>
                  <a:pt x="582143" y="1744639"/>
                </a:lnTo>
                <a:lnTo>
                  <a:pt x="540134" y="1727496"/>
                </a:lnTo>
                <a:lnTo>
                  <a:pt x="499213" y="1708331"/>
                </a:lnTo>
                <a:lnTo>
                  <a:pt x="459440" y="1687208"/>
                </a:lnTo>
                <a:lnTo>
                  <a:pt x="420878" y="1664188"/>
                </a:lnTo>
                <a:lnTo>
                  <a:pt x="383591" y="1639333"/>
                </a:lnTo>
                <a:lnTo>
                  <a:pt x="347639" y="1612706"/>
                </a:lnTo>
                <a:lnTo>
                  <a:pt x="313086" y="1584370"/>
                </a:lnTo>
                <a:lnTo>
                  <a:pt x="279994" y="1554385"/>
                </a:lnTo>
                <a:lnTo>
                  <a:pt x="248424" y="1522816"/>
                </a:lnTo>
                <a:lnTo>
                  <a:pt x="218440" y="1489724"/>
                </a:lnTo>
                <a:lnTo>
                  <a:pt x="190104" y="1455170"/>
                </a:lnTo>
                <a:lnTo>
                  <a:pt x="163477" y="1419219"/>
                </a:lnTo>
                <a:lnTo>
                  <a:pt x="138622" y="1381931"/>
                </a:lnTo>
                <a:lnTo>
                  <a:pt x="115602" y="1343370"/>
                </a:lnTo>
                <a:lnTo>
                  <a:pt x="94478" y="1303597"/>
                </a:lnTo>
                <a:lnTo>
                  <a:pt x="75314" y="1262675"/>
                </a:lnTo>
                <a:lnTo>
                  <a:pt x="58171" y="1220667"/>
                </a:lnTo>
                <a:lnTo>
                  <a:pt x="43112" y="1177633"/>
                </a:lnTo>
                <a:lnTo>
                  <a:pt x="30198" y="1133638"/>
                </a:lnTo>
                <a:lnTo>
                  <a:pt x="19493" y="1088742"/>
                </a:lnTo>
                <a:lnTo>
                  <a:pt x="11058" y="1043008"/>
                </a:lnTo>
                <a:lnTo>
                  <a:pt x="4956" y="996500"/>
                </a:lnTo>
                <a:lnTo>
                  <a:pt x="1249" y="949278"/>
                </a:lnTo>
                <a:lnTo>
                  <a:pt x="0" y="901405"/>
                </a:lnTo>
                <a:lnTo>
                  <a:pt x="1249" y="853532"/>
                </a:lnTo>
                <a:lnTo>
                  <a:pt x="4956" y="806310"/>
                </a:lnTo>
                <a:lnTo>
                  <a:pt x="11058" y="759802"/>
                </a:lnTo>
                <a:lnTo>
                  <a:pt x="19493" y="714068"/>
                </a:lnTo>
                <a:lnTo>
                  <a:pt x="30198" y="669172"/>
                </a:lnTo>
                <a:lnTo>
                  <a:pt x="43112" y="625177"/>
                </a:lnTo>
                <a:lnTo>
                  <a:pt x="58171" y="582143"/>
                </a:lnTo>
                <a:lnTo>
                  <a:pt x="75314" y="540135"/>
                </a:lnTo>
                <a:lnTo>
                  <a:pt x="94478" y="499213"/>
                </a:lnTo>
                <a:lnTo>
                  <a:pt x="115602" y="459440"/>
                </a:lnTo>
                <a:lnTo>
                  <a:pt x="138622" y="420879"/>
                </a:lnTo>
                <a:lnTo>
                  <a:pt x="163477" y="383591"/>
                </a:lnTo>
                <a:lnTo>
                  <a:pt x="190104" y="347640"/>
                </a:lnTo>
                <a:lnTo>
                  <a:pt x="218440" y="313086"/>
                </a:lnTo>
                <a:lnTo>
                  <a:pt x="248424" y="279994"/>
                </a:lnTo>
                <a:lnTo>
                  <a:pt x="279994" y="248425"/>
                </a:lnTo>
                <a:lnTo>
                  <a:pt x="313086" y="218440"/>
                </a:lnTo>
                <a:lnTo>
                  <a:pt x="347639" y="190104"/>
                </a:lnTo>
                <a:lnTo>
                  <a:pt x="383591" y="163477"/>
                </a:lnTo>
                <a:lnTo>
                  <a:pt x="420878" y="138622"/>
                </a:lnTo>
                <a:lnTo>
                  <a:pt x="459440" y="115602"/>
                </a:lnTo>
                <a:lnTo>
                  <a:pt x="499213" y="94479"/>
                </a:lnTo>
                <a:lnTo>
                  <a:pt x="540134" y="75314"/>
                </a:lnTo>
                <a:lnTo>
                  <a:pt x="582143" y="58171"/>
                </a:lnTo>
                <a:lnTo>
                  <a:pt x="625177" y="43112"/>
                </a:lnTo>
                <a:lnTo>
                  <a:pt x="669173" y="30198"/>
                </a:lnTo>
                <a:lnTo>
                  <a:pt x="714068" y="19493"/>
                </a:lnTo>
                <a:lnTo>
                  <a:pt x="759802" y="11058"/>
                </a:lnTo>
                <a:lnTo>
                  <a:pt x="806311" y="4956"/>
                </a:lnTo>
                <a:lnTo>
                  <a:pt x="853533" y="1249"/>
                </a:lnTo>
                <a:lnTo>
                  <a:pt x="901405" y="0"/>
                </a:lnTo>
                <a:lnTo>
                  <a:pt x="949278" y="1249"/>
                </a:lnTo>
                <a:lnTo>
                  <a:pt x="996500" y="4956"/>
                </a:lnTo>
                <a:lnTo>
                  <a:pt x="1043009" y="11058"/>
                </a:lnTo>
                <a:lnTo>
                  <a:pt x="1088742" y="19493"/>
                </a:lnTo>
                <a:lnTo>
                  <a:pt x="1133638" y="30198"/>
                </a:lnTo>
                <a:lnTo>
                  <a:pt x="1177633" y="43112"/>
                </a:lnTo>
                <a:lnTo>
                  <a:pt x="1220667" y="58171"/>
                </a:lnTo>
                <a:lnTo>
                  <a:pt x="1262676" y="75314"/>
                </a:lnTo>
                <a:lnTo>
                  <a:pt x="1303598" y="94479"/>
                </a:lnTo>
                <a:lnTo>
                  <a:pt x="1343370" y="115602"/>
                </a:lnTo>
                <a:lnTo>
                  <a:pt x="1381932" y="138622"/>
                </a:lnTo>
                <a:lnTo>
                  <a:pt x="1419219" y="163477"/>
                </a:lnTo>
                <a:lnTo>
                  <a:pt x="1455170" y="190104"/>
                </a:lnTo>
                <a:lnTo>
                  <a:pt x="1489724" y="218440"/>
                </a:lnTo>
                <a:lnTo>
                  <a:pt x="1522816" y="248425"/>
                </a:lnTo>
                <a:lnTo>
                  <a:pt x="1554385" y="279994"/>
                </a:lnTo>
                <a:lnTo>
                  <a:pt x="1584370" y="313086"/>
                </a:lnTo>
                <a:lnTo>
                  <a:pt x="1612706" y="347640"/>
                </a:lnTo>
                <a:lnTo>
                  <a:pt x="1639333" y="383591"/>
                </a:lnTo>
                <a:lnTo>
                  <a:pt x="1664188" y="420879"/>
                </a:lnTo>
                <a:lnTo>
                  <a:pt x="1687208" y="459440"/>
                </a:lnTo>
                <a:lnTo>
                  <a:pt x="1708331" y="499213"/>
                </a:lnTo>
                <a:lnTo>
                  <a:pt x="1727496" y="540135"/>
                </a:lnTo>
                <a:lnTo>
                  <a:pt x="1744639" y="582143"/>
                </a:lnTo>
                <a:lnTo>
                  <a:pt x="1759698" y="625177"/>
                </a:lnTo>
                <a:lnTo>
                  <a:pt x="1772612" y="669172"/>
                </a:lnTo>
                <a:lnTo>
                  <a:pt x="1783317" y="714068"/>
                </a:lnTo>
                <a:lnTo>
                  <a:pt x="1791752" y="759802"/>
                </a:lnTo>
                <a:lnTo>
                  <a:pt x="1797854" y="806310"/>
                </a:lnTo>
                <a:lnTo>
                  <a:pt x="1801561" y="853532"/>
                </a:lnTo>
                <a:lnTo>
                  <a:pt x="1802810" y="901405"/>
                </a:lnTo>
                <a:lnTo>
                  <a:pt x="1801561" y="949278"/>
                </a:lnTo>
                <a:lnTo>
                  <a:pt x="1797854" y="996500"/>
                </a:lnTo>
                <a:lnTo>
                  <a:pt x="1791752" y="1043008"/>
                </a:lnTo>
                <a:lnTo>
                  <a:pt x="1783317" y="1088742"/>
                </a:lnTo>
                <a:lnTo>
                  <a:pt x="1772612" y="1133638"/>
                </a:lnTo>
                <a:lnTo>
                  <a:pt x="1759698" y="1177633"/>
                </a:lnTo>
                <a:lnTo>
                  <a:pt x="1744639" y="1220667"/>
                </a:lnTo>
                <a:lnTo>
                  <a:pt x="1727496" y="1262675"/>
                </a:lnTo>
                <a:lnTo>
                  <a:pt x="1708331" y="1303597"/>
                </a:lnTo>
                <a:lnTo>
                  <a:pt x="1687208" y="1343370"/>
                </a:lnTo>
                <a:lnTo>
                  <a:pt x="1664188" y="1381931"/>
                </a:lnTo>
                <a:lnTo>
                  <a:pt x="1639333" y="1419219"/>
                </a:lnTo>
                <a:lnTo>
                  <a:pt x="1612706" y="1455170"/>
                </a:lnTo>
                <a:lnTo>
                  <a:pt x="1584370" y="1489724"/>
                </a:lnTo>
                <a:lnTo>
                  <a:pt x="1554385" y="1522816"/>
                </a:lnTo>
                <a:lnTo>
                  <a:pt x="1522816" y="1554385"/>
                </a:lnTo>
                <a:lnTo>
                  <a:pt x="1489724" y="1584370"/>
                </a:lnTo>
                <a:lnTo>
                  <a:pt x="1455170" y="1612706"/>
                </a:lnTo>
                <a:lnTo>
                  <a:pt x="1419219" y="1639333"/>
                </a:lnTo>
                <a:lnTo>
                  <a:pt x="1381932" y="1664188"/>
                </a:lnTo>
                <a:lnTo>
                  <a:pt x="1343370" y="1687208"/>
                </a:lnTo>
                <a:lnTo>
                  <a:pt x="1303598" y="1708331"/>
                </a:lnTo>
                <a:lnTo>
                  <a:pt x="1262676" y="1727496"/>
                </a:lnTo>
                <a:lnTo>
                  <a:pt x="1220667" y="1744639"/>
                </a:lnTo>
                <a:lnTo>
                  <a:pt x="1177633" y="1759698"/>
                </a:lnTo>
                <a:lnTo>
                  <a:pt x="1133638" y="1772612"/>
                </a:lnTo>
                <a:lnTo>
                  <a:pt x="1088742" y="1783317"/>
                </a:lnTo>
                <a:lnTo>
                  <a:pt x="1043009" y="1791752"/>
                </a:lnTo>
                <a:lnTo>
                  <a:pt x="996500" y="1797854"/>
                </a:lnTo>
                <a:lnTo>
                  <a:pt x="949278" y="1801561"/>
                </a:lnTo>
                <a:lnTo>
                  <a:pt x="901405" y="1802810"/>
                </a:lnTo>
                <a:close/>
              </a:path>
            </a:pathLst>
          </a:custGeom>
          <a:solidFill>
            <a:srgbClr val="CCD0A7"/>
          </a:solidFill>
        </p:spPr>
        <p:txBody>
          <a:bodyPr wrap="square" lIns="0" tIns="0" rIns="0" bIns="0" rtlCol="0"/>
          <a:lstStyle/>
          <a:p>
            <a:pPr defTabSz="609630"/>
            <a:endParaRPr sz="1200" kern="0">
              <a:solidFill>
                <a:sysClr val="windowText" lastClr="000000"/>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85800" y="0"/>
            <a:ext cx="3860377" cy="2270760"/>
          </a:xfrm>
          <a:custGeom>
            <a:avLst/>
            <a:gdLst/>
            <a:ahLst/>
            <a:cxnLst/>
            <a:rect l="l" t="t" r="r" b="b"/>
            <a:pathLst>
              <a:path w="5790565" h="3406140">
                <a:moveTo>
                  <a:pt x="3552489" y="3342217"/>
                </a:moveTo>
                <a:lnTo>
                  <a:pt x="2237762" y="3342217"/>
                </a:lnTo>
                <a:lnTo>
                  <a:pt x="1971332" y="3266017"/>
                </a:lnTo>
                <a:lnTo>
                  <a:pt x="1927970" y="3240617"/>
                </a:lnTo>
                <a:lnTo>
                  <a:pt x="1799794" y="3202517"/>
                </a:lnTo>
                <a:lnTo>
                  <a:pt x="1757726" y="3177117"/>
                </a:lnTo>
                <a:lnTo>
                  <a:pt x="1715997" y="3164417"/>
                </a:lnTo>
                <a:lnTo>
                  <a:pt x="1674613" y="3139017"/>
                </a:lnTo>
                <a:lnTo>
                  <a:pt x="1633581" y="3126317"/>
                </a:lnTo>
                <a:lnTo>
                  <a:pt x="1592905" y="3100917"/>
                </a:lnTo>
                <a:lnTo>
                  <a:pt x="1552593" y="3088217"/>
                </a:lnTo>
                <a:lnTo>
                  <a:pt x="1433900" y="3012017"/>
                </a:lnTo>
                <a:lnTo>
                  <a:pt x="1395103" y="2999317"/>
                </a:lnTo>
                <a:lnTo>
                  <a:pt x="1318699" y="2948517"/>
                </a:lnTo>
                <a:lnTo>
                  <a:pt x="1243921" y="2897717"/>
                </a:lnTo>
                <a:lnTo>
                  <a:pt x="1170817" y="2846917"/>
                </a:lnTo>
                <a:lnTo>
                  <a:pt x="1134909" y="2821517"/>
                </a:lnTo>
                <a:lnTo>
                  <a:pt x="1099438" y="2783417"/>
                </a:lnTo>
                <a:lnTo>
                  <a:pt x="1029833" y="2732617"/>
                </a:lnTo>
                <a:lnTo>
                  <a:pt x="995710" y="2707217"/>
                </a:lnTo>
                <a:lnTo>
                  <a:pt x="962049" y="2669117"/>
                </a:lnTo>
                <a:lnTo>
                  <a:pt x="928857" y="2643717"/>
                </a:lnTo>
                <a:lnTo>
                  <a:pt x="896138" y="2605617"/>
                </a:lnTo>
                <a:lnTo>
                  <a:pt x="863900" y="2580217"/>
                </a:lnTo>
                <a:lnTo>
                  <a:pt x="832147" y="2542117"/>
                </a:lnTo>
                <a:lnTo>
                  <a:pt x="800888" y="2516717"/>
                </a:lnTo>
                <a:lnTo>
                  <a:pt x="770127" y="2478617"/>
                </a:lnTo>
                <a:lnTo>
                  <a:pt x="739870" y="2453217"/>
                </a:lnTo>
                <a:lnTo>
                  <a:pt x="710125" y="2415117"/>
                </a:lnTo>
                <a:lnTo>
                  <a:pt x="680897" y="2377017"/>
                </a:lnTo>
                <a:lnTo>
                  <a:pt x="652192" y="2351617"/>
                </a:lnTo>
                <a:lnTo>
                  <a:pt x="624016" y="2313517"/>
                </a:lnTo>
                <a:lnTo>
                  <a:pt x="596376" y="2275417"/>
                </a:lnTo>
                <a:lnTo>
                  <a:pt x="569277" y="2237317"/>
                </a:lnTo>
                <a:lnTo>
                  <a:pt x="542726" y="2199217"/>
                </a:lnTo>
                <a:lnTo>
                  <a:pt x="516730" y="2173817"/>
                </a:lnTo>
                <a:lnTo>
                  <a:pt x="491293" y="2135717"/>
                </a:lnTo>
                <a:lnTo>
                  <a:pt x="466422" y="2097617"/>
                </a:lnTo>
                <a:lnTo>
                  <a:pt x="442124" y="2059517"/>
                </a:lnTo>
                <a:lnTo>
                  <a:pt x="418404" y="2021417"/>
                </a:lnTo>
                <a:lnTo>
                  <a:pt x="395269" y="1983317"/>
                </a:lnTo>
                <a:lnTo>
                  <a:pt x="372725" y="1945217"/>
                </a:lnTo>
                <a:lnTo>
                  <a:pt x="350777" y="1894417"/>
                </a:lnTo>
                <a:lnTo>
                  <a:pt x="329433" y="1856317"/>
                </a:lnTo>
                <a:lnTo>
                  <a:pt x="308698" y="1818217"/>
                </a:lnTo>
                <a:lnTo>
                  <a:pt x="288578" y="1780117"/>
                </a:lnTo>
                <a:lnTo>
                  <a:pt x="269080" y="1742017"/>
                </a:lnTo>
                <a:lnTo>
                  <a:pt x="250209" y="1691217"/>
                </a:lnTo>
                <a:lnTo>
                  <a:pt x="231972" y="1653117"/>
                </a:lnTo>
                <a:lnTo>
                  <a:pt x="214375" y="1615017"/>
                </a:lnTo>
                <a:lnTo>
                  <a:pt x="197425" y="1564217"/>
                </a:lnTo>
                <a:lnTo>
                  <a:pt x="181126" y="1526117"/>
                </a:lnTo>
                <a:lnTo>
                  <a:pt x="165486" y="1488017"/>
                </a:lnTo>
                <a:lnTo>
                  <a:pt x="150510" y="1437217"/>
                </a:lnTo>
                <a:lnTo>
                  <a:pt x="136205" y="1399117"/>
                </a:lnTo>
                <a:lnTo>
                  <a:pt x="122576" y="1348317"/>
                </a:lnTo>
                <a:lnTo>
                  <a:pt x="109631" y="1310217"/>
                </a:lnTo>
                <a:lnTo>
                  <a:pt x="97375" y="1259417"/>
                </a:lnTo>
                <a:lnTo>
                  <a:pt x="85813" y="1221317"/>
                </a:lnTo>
                <a:lnTo>
                  <a:pt x="74954" y="1170517"/>
                </a:lnTo>
                <a:lnTo>
                  <a:pt x="64801" y="1132417"/>
                </a:lnTo>
                <a:lnTo>
                  <a:pt x="55363" y="1081617"/>
                </a:lnTo>
                <a:lnTo>
                  <a:pt x="46644" y="1043517"/>
                </a:lnTo>
                <a:lnTo>
                  <a:pt x="38651" y="992717"/>
                </a:lnTo>
                <a:lnTo>
                  <a:pt x="31390" y="941917"/>
                </a:lnTo>
                <a:lnTo>
                  <a:pt x="24867" y="903817"/>
                </a:lnTo>
                <a:lnTo>
                  <a:pt x="19089" y="853018"/>
                </a:lnTo>
                <a:lnTo>
                  <a:pt x="14061" y="802218"/>
                </a:lnTo>
                <a:lnTo>
                  <a:pt x="9790" y="751418"/>
                </a:lnTo>
                <a:lnTo>
                  <a:pt x="6282" y="713318"/>
                </a:lnTo>
                <a:lnTo>
                  <a:pt x="3543" y="662518"/>
                </a:lnTo>
                <a:lnTo>
                  <a:pt x="1578" y="611718"/>
                </a:lnTo>
                <a:lnTo>
                  <a:pt x="395" y="560918"/>
                </a:lnTo>
                <a:lnTo>
                  <a:pt x="0" y="522818"/>
                </a:lnTo>
                <a:lnTo>
                  <a:pt x="395" y="472018"/>
                </a:lnTo>
                <a:lnTo>
                  <a:pt x="1578" y="421218"/>
                </a:lnTo>
                <a:lnTo>
                  <a:pt x="3543" y="370418"/>
                </a:lnTo>
                <a:lnTo>
                  <a:pt x="6282" y="319618"/>
                </a:lnTo>
                <a:lnTo>
                  <a:pt x="9790" y="281518"/>
                </a:lnTo>
                <a:lnTo>
                  <a:pt x="14061" y="230718"/>
                </a:lnTo>
                <a:lnTo>
                  <a:pt x="19089" y="179918"/>
                </a:lnTo>
                <a:lnTo>
                  <a:pt x="24867" y="141818"/>
                </a:lnTo>
                <a:lnTo>
                  <a:pt x="31390" y="91018"/>
                </a:lnTo>
                <a:lnTo>
                  <a:pt x="38651" y="40218"/>
                </a:lnTo>
                <a:lnTo>
                  <a:pt x="46644" y="2118"/>
                </a:lnTo>
                <a:lnTo>
                  <a:pt x="47007" y="0"/>
                </a:lnTo>
                <a:lnTo>
                  <a:pt x="5743243" y="0"/>
                </a:lnTo>
                <a:lnTo>
                  <a:pt x="5743607" y="2118"/>
                </a:lnTo>
                <a:lnTo>
                  <a:pt x="5751600" y="40218"/>
                </a:lnTo>
                <a:lnTo>
                  <a:pt x="5758861" y="91018"/>
                </a:lnTo>
                <a:lnTo>
                  <a:pt x="5765383" y="141818"/>
                </a:lnTo>
                <a:lnTo>
                  <a:pt x="5771162" y="179918"/>
                </a:lnTo>
                <a:lnTo>
                  <a:pt x="5776189" y="230718"/>
                </a:lnTo>
                <a:lnTo>
                  <a:pt x="5780460" y="281518"/>
                </a:lnTo>
                <a:lnTo>
                  <a:pt x="5783969" y="319618"/>
                </a:lnTo>
                <a:lnTo>
                  <a:pt x="5786708" y="370418"/>
                </a:lnTo>
                <a:lnTo>
                  <a:pt x="5788672" y="421218"/>
                </a:lnTo>
                <a:lnTo>
                  <a:pt x="5789856" y="472018"/>
                </a:lnTo>
                <a:lnTo>
                  <a:pt x="5790251" y="522818"/>
                </a:lnTo>
                <a:lnTo>
                  <a:pt x="5789856" y="560918"/>
                </a:lnTo>
                <a:lnTo>
                  <a:pt x="5788672" y="611718"/>
                </a:lnTo>
                <a:lnTo>
                  <a:pt x="5786708" y="662518"/>
                </a:lnTo>
                <a:lnTo>
                  <a:pt x="5783969" y="713318"/>
                </a:lnTo>
                <a:lnTo>
                  <a:pt x="5780460" y="751418"/>
                </a:lnTo>
                <a:lnTo>
                  <a:pt x="5776189" y="802218"/>
                </a:lnTo>
                <a:lnTo>
                  <a:pt x="5771162" y="853018"/>
                </a:lnTo>
                <a:lnTo>
                  <a:pt x="5765383" y="903817"/>
                </a:lnTo>
                <a:lnTo>
                  <a:pt x="5758861" y="941917"/>
                </a:lnTo>
                <a:lnTo>
                  <a:pt x="5751600" y="992717"/>
                </a:lnTo>
                <a:lnTo>
                  <a:pt x="5743607" y="1043517"/>
                </a:lnTo>
                <a:lnTo>
                  <a:pt x="5734888" y="1081617"/>
                </a:lnTo>
                <a:lnTo>
                  <a:pt x="5725449" y="1132417"/>
                </a:lnTo>
                <a:lnTo>
                  <a:pt x="5715297" y="1170517"/>
                </a:lnTo>
                <a:lnTo>
                  <a:pt x="5704437" y="1221317"/>
                </a:lnTo>
                <a:lnTo>
                  <a:pt x="5692876" y="1259417"/>
                </a:lnTo>
                <a:lnTo>
                  <a:pt x="5680620" y="1310217"/>
                </a:lnTo>
                <a:lnTo>
                  <a:pt x="5667674" y="1348317"/>
                </a:lnTo>
                <a:lnTo>
                  <a:pt x="5654046" y="1399117"/>
                </a:lnTo>
                <a:lnTo>
                  <a:pt x="5639741" y="1437217"/>
                </a:lnTo>
                <a:lnTo>
                  <a:pt x="5624765" y="1488017"/>
                </a:lnTo>
                <a:lnTo>
                  <a:pt x="5609125" y="1526117"/>
                </a:lnTo>
                <a:lnTo>
                  <a:pt x="5592826" y="1564217"/>
                </a:lnTo>
                <a:lnTo>
                  <a:pt x="5575875" y="1615017"/>
                </a:lnTo>
                <a:lnTo>
                  <a:pt x="5558278" y="1653117"/>
                </a:lnTo>
                <a:lnTo>
                  <a:pt x="5540042" y="1691217"/>
                </a:lnTo>
                <a:lnTo>
                  <a:pt x="5521171" y="1742017"/>
                </a:lnTo>
                <a:lnTo>
                  <a:pt x="5501673" y="1780117"/>
                </a:lnTo>
                <a:lnTo>
                  <a:pt x="5481553" y="1818217"/>
                </a:lnTo>
                <a:lnTo>
                  <a:pt x="5460818" y="1856317"/>
                </a:lnTo>
                <a:lnTo>
                  <a:pt x="5439473" y="1894417"/>
                </a:lnTo>
                <a:lnTo>
                  <a:pt x="5417526" y="1945217"/>
                </a:lnTo>
                <a:lnTo>
                  <a:pt x="5394982" y="1983317"/>
                </a:lnTo>
                <a:lnTo>
                  <a:pt x="5371847" y="2021417"/>
                </a:lnTo>
                <a:lnTo>
                  <a:pt x="5348127" y="2059517"/>
                </a:lnTo>
                <a:lnTo>
                  <a:pt x="5323829" y="2097617"/>
                </a:lnTo>
                <a:lnTo>
                  <a:pt x="5298958" y="2135717"/>
                </a:lnTo>
                <a:lnTo>
                  <a:pt x="5273521" y="2173817"/>
                </a:lnTo>
                <a:lnTo>
                  <a:pt x="5247524" y="2199217"/>
                </a:lnTo>
                <a:lnTo>
                  <a:pt x="5220973" y="2237317"/>
                </a:lnTo>
                <a:lnTo>
                  <a:pt x="5193875" y="2275417"/>
                </a:lnTo>
                <a:lnTo>
                  <a:pt x="5166235" y="2313517"/>
                </a:lnTo>
                <a:lnTo>
                  <a:pt x="5138059" y="2351617"/>
                </a:lnTo>
                <a:lnTo>
                  <a:pt x="5109354" y="2377017"/>
                </a:lnTo>
                <a:lnTo>
                  <a:pt x="5080126" y="2415117"/>
                </a:lnTo>
                <a:lnTo>
                  <a:pt x="5050380" y="2453217"/>
                </a:lnTo>
                <a:lnTo>
                  <a:pt x="5020124" y="2478617"/>
                </a:lnTo>
                <a:lnTo>
                  <a:pt x="4989363" y="2516717"/>
                </a:lnTo>
                <a:lnTo>
                  <a:pt x="4958103" y="2542117"/>
                </a:lnTo>
                <a:lnTo>
                  <a:pt x="4926351" y="2580217"/>
                </a:lnTo>
                <a:lnTo>
                  <a:pt x="4894113" y="2605617"/>
                </a:lnTo>
                <a:lnTo>
                  <a:pt x="4861394" y="2643717"/>
                </a:lnTo>
                <a:lnTo>
                  <a:pt x="4828201" y="2669117"/>
                </a:lnTo>
                <a:lnTo>
                  <a:pt x="4794541" y="2707217"/>
                </a:lnTo>
                <a:lnTo>
                  <a:pt x="4760418" y="2732617"/>
                </a:lnTo>
                <a:lnTo>
                  <a:pt x="4690812" y="2783417"/>
                </a:lnTo>
                <a:lnTo>
                  <a:pt x="4655341" y="2821517"/>
                </a:lnTo>
                <a:lnTo>
                  <a:pt x="4619433" y="2846917"/>
                </a:lnTo>
                <a:lnTo>
                  <a:pt x="4546330" y="2897717"/>
                </a:lnTo>
                <a:lnTo>
                  <a:pt x="4471552" y="2948517"/>
                </a:lnTo>
                <a:lnTo>
                  <a:pt x="4395147" y="2999317"/>
                </a:lnTo>
                <a:lnTo>
                  <a:pt x="4356351" y="3012017"/>
                </a:lnTo>
                <a:lnTo>
                  <a:pt x="4237657" y="3088217"/>
                </a:lnTo>
                <a:lnTo>
                  <a:pt x="4197345" y="3100917"/>
                </a:lnTo>
                <a:lnTo>
                  <a:pt x="4156670" y="3126317"/>
                </a:lnTo>
                <a:lnTo>
                  <a:pt x="4115637" y="3139017"/>
                </a:lnTo>
                <a:lnTo>
                  <a:pt x="4074253" y="3164417"/>
                </a:lnTo>
                <a:lnTo>
                  <a:pt x="4032524" y="3177117"/>
                </a:lnTo>
                <a:lnTo>
                  <a:pt x="3990457" y="3202517"/>
                </a:lnTo>
                <a:lnTo>
                  <a:pt x="3862281" y="3240617"/>
                </a:lnTo>
                <a:lnTo>
                  <a:pt x="3818919" y="3266017"/>
                </a:lnTo>
                <a:lnTo>
                  <a:pt x="3552489" y="3342217"/>
                </a:lnTo>
                <a:close/>
              </a:path>
              <a:path w="5790565" h="3406140">
                <a:moveTo>
                  <a:pt x="3415528" y="3367617"/>
                </a:moveTo>
                <a:lnTo>
                  <a:pt x="2374723" y="3367617"/>
                </a:lnTo>
                <a:lnTo>
                  <a:pt x="2283152" y="3342217"/>
                </a:lnTo>
                <a:lnTo>
                  <a:pt x="3507098" y="3342217"/>
                </a:lnTo>
                <a:lnTo>
                  <a:pt x="3415528" y="3367617"/>
                </a:lnTo>
                <a:close/>
              </a:path>
              <a:path w="5790565" h="3406140">
                <a:moveTo>
                  <a:pt x="3276291" y="3393017"/>
                </a:moveTo>
                <a:lnTo>
                  <a:pt x="2513960" y="3393017"/>
                </a:lnTo>
                <a:lnTo>
                  <a:pt x="2420890" y="3367617"/>
                </a:lnTo>
                <a:lnTo>
                  <a:pt x="3369360" y="3367617"/>
                </a:lnTo>
                <a:lnTo>
                  <a:pt x="3276291" y="3393017"/>
                </a:lnTo>
                <a:close/>
              </a:path>
              <a:path w="5790565" h="3406140">
                <a:moveTo>
                  <a:pt x="3134943" y="3405717"/>
                </a:moveTo>
                <a:lnTo>
                  <a:pt x="2655307" y="3405717"/>
                </a:lnTo>
                <a:lnTo>
                  <a:pt x="2607967" y="3393017"/>
                </a:lnTo>
                <a:lnTo>
                  <a:pt x="3182283" y="3393017"/>
                </a:lnTo>
                <a:lnTo>
                  <a:pt x="3134943" y="3405717"/>
                </a:lnTo>
                <a:close/>
              </a:path>
            </a:pathLst>
          </a:custGeom>
          <a:solidFill>
            <a:srgbClr val="D8B094"/>
          </a:solidFill>
        </p:spPr>
        <p:txBody>
          <a:bodyPr wrap="square" lIns="0" tIns="0" rIns="0" bIns="0" rtlCol="0"/>
          <a:lstStyle/>
          <a:p>
            <a:pPr defTabSz="609630"/>
            <a:endParaRPr sz="1200" kern="0">
              <a:solidFill>
                <a:sysClr val="windowText" lastClr="000000"/>
              </a:solidFill>
            </a:endParaRPr>
          </a:p>
        </p:txBody>
      </p:sp>
      <p:sp>
        <p:nvSpPr>
          <p:cNvPr id="3" name="object 3"/>
          <p:cNvSpPr/>
          <p:nvPr/>
        </p:nvSpPr>
        <p:spPr>
          <a:xfrm>
            <a:off x="5495063" y="866986"/>
            <a:ext cx="1202267" cy="1202267"/>
          </a:xfrm>
          <a:custGeom>
            <a:avLst/>
            <a:gdLst/>
            <a:ahLst/>
            <a:cxnLst/>
            <a:rect l="l" t="t" r="r" b="b"/>
            <a:pathLst>
              <a:path w="1803400" h="1803400">
                <a:moveTo>
                  <a:pt x="901405" y="1802811"/>
                </a:moveTo>
                <a:lnTo>
                  <a:pt x="853533" y="1801561"/>
                </a:lnTo>
                <a:lnTo>
                  <a:pt x="806311" y="1797854"/>
                </a:lnTo>
                <a:lnTo>
                  <a:pt x="759802" y="1791752"/>
                </a:lnTo>
                <a:lnTo>
                  <a:pt x="714068" y="1783317"/>
                </a:lnTo>
                <a:lnTo>
                  <a:pt x="669173" y="1772612"/>
                </a:lnTo>
                <a:lnTo>
                  <a:pt x="625177" y="1759699"/>
                </a:lnTo>
                <a:lnTo>
                  <a:pt x="582143" y="1744639"/>
                </a:lnTo>
                <a:lnTo>
                  <a:pt x="540134" y="1727496"/>
                </a:lnTo>
                <a:lnTo>
                  <a:pt x="499213" y="1708332"/>
                </a:lnTo>
                <a:lnTo>
                  <a:pt x="459440" y="1687208"/>
                </a:lnTo>
                <a:lnTo>
                  <a:pt x="420878" y="1664188"/>
                </a:lnTo>
                <a:lnTo>
                  <a:pt x="383591" y="1639333"/>
                </a:lnTo>
                <a:lnTo>
                  <a:pt x="347639" y="1612706"/>
                </a:lnTo>
                <a:lnTo>
                  <a:pt x="313086" y="1584370"/>
                </a:lnTo>
                <a:lnTo>
                  <a:pt x="279994" y="1554385"/>
                </a:lnTo>
                <a:lnTo>
                  <a:pt x="248424" y="1522816"/>
                </a:lnTo>
                <a:lnTo>
                  <a:pt x="218440" y="1489724"/>
                </a:lnTo>
                <a:lnTo>
                  <a:pt x="190104" y="1455170"/>
                </a:lnTo>
                <a:lnTo>
                  <a:pt x="163477" y="1419219"/>
                </a:lnTo>
                <a:lnTo>
                  <a:pt x="138622" y="1381931"/>
                </a:lnTo>
                <a:lnTo>
                  <a:pt x="115602" y="1343370"/>
                </a:lnTo>
                <a:lnTo>
                  <a:pt x="94478" y="1303597"/>
                </a:lnTo>
                <a:lnTo>
                  <a:pt x="75314" y="1262675"/>
                </a:lnTo>
                <a:lnTo>
                  <a:pt x="58171" y="1220667"/>
                </a:lnTo>
                <a:lnTo>
                  <a:pt x="43112" y="1177633"/>
                </a:lnTo>
                <a:lnTo>
                  <a:pt x="30198" y="1133638"/>
                </a:lnTo>
                <a:lnTo>
                  <a:pt x="19493" y="1088742"/>
                </a:lnTo>
                <a:lnTo>
                  <a:pt x="11058" y="1043008"/>
                </a:lnTo>
                <a:lnTo>
                  <a:pt x="4956" y="996500"/>
                </a:lnTo>
                <a:lnTo>
                  <a:pt x="1249" y="949278"/>
                </a:lnTo>
                <a:lnTo>
                  <a:pt x="0" y="901405"/>
                </a:lnTo>
                <a:lnTo>
                  <a:pt x="1249" y="853532"/>
                </a:lnTo>
                <a:lnTo>
                  <a:pt x="4956" y="806310"/>
                </a:lnTo>
                <a:lnTo>
                  <a:pt x="11058" y="759802"/>
                </a:lnTo>
                <a:lnTo>
                  <a:pt x="19493" y="714068"/>
                </a:lnTo>
                <a:lnTo>
                  <a:pt x="30198" y="669173"/>
                </a:lnTo>
                <a:lnTo>
                  <a:pt x="43112" y="625177"/>
                </a:lnTo>
                <a:lnTo>
                  <a:pt x="58171" y="582143"/>
                </a:lnTo>
                <a:lnTo>
                  <a:pt x="75314" y="540135"/>
                </a:lnTo>
                <a:lnTo>
                  <a:pt x="94478" y="499213"/>
                </a:lnTo>
                <a:lnTo>
                  <a:pt x="115602" y="459440"/>
                </a:lnTo>
                <a:lnTo>
                  <a:pt x="138622" y="420879"/>
                </a:lnTo>
                <a:lnTo>
                  <a:pt x="163477" y="383591"/>
                </a:lnTo>
                <a:lnTo>
                  <a:pt x="190104" y="347640"/>
                </a:lnTo>
                <a:lnTo>
                  <a:pt x="218440" y="313086"/>
                </a:lnTo>
                <a:lnTo>
                  <a:pt x="248424" y="279994"/>
                </a:lnTo>
                <a:lnTo>
                  <a:pt x="279994" y="248425"/>
                </a:lnTo>
                <a:lnTo>
                  <a:pt x="313086" y="218440"/>
                </a:lnTo>
                <a:lnTo>
                  <a:pt x="347639" y="190104"/>
                </a:lnTo>
                <a:lnTo>
                  <a:pt x="383591" y="163477"/>
                </a:lnTo>
                <a:lnTo>
                  <a:pt x="420878" y="138622"/>
                </a:lnTo>
                <a:lnTo>
                  <a:pt x="459440" y="115602"/>
                </a:lnTo>
                <a:lnTo>
                  <a:pt x="499213" y="94479"/>
                </a:lnTo>
                <a:lnTo>
                  <a:pt x="540134" y="75314"/>
                </a:lnTo>
                <a:lnTo>
                  <a:pt x="582143" y="58171"/>
                </a:lnTo>
                <a:lnTo>
                  <a:pt x="625177" y="43112"/>
                </a:lnTo>
                <a:lnTo>
                  <a:pt x="669173" y="30198"/>
                </a:lnTo>
                <a:lnTo>
                  <a:pt x="714068" y="19493"/>
                </a:lnTo>
                <a:lnTo>
                  <a:pt x="759802" y="11058"/>
                </a:lnTo>
                <a:lnTo>
                  <a:pt x="806311" y="4956"/>
                </a:lnTo>
                <a:lnTo>
                  <a:pt x="853533" y="1249"/>
                </a:lnTo>
                <a:lnTo>
                  <a:pt x="901405" y="0"/>
                </a:lnTo>
                <a:lnTo>
                  <a:pt x="949278" y="1249"/>
                </a:lnTo>
                <a:lnTo>
                  <a:pt x="996500" y="4956"/>
                </a:lnTo>
                <a:lnTo>
                  <a:pt x="1043009" y="11058"/>
                </a:lnTo>
                <a:lnTo>
                  <a:pt x="1088742" y="19493"/>
                </a:lnTo>
                <a:lnTo>
                  <a:pt x="1133638" y="30198"/>
                </a:lnTo>
                <a:lnTo>
                  <a:pt x="1177633" y="43112"/>
                </a:lnTo>
                <a:lnTo>
                  <a:pt x="1220667" y="58171"/>
                </a:lnTo>
                <a:lnTo>
                  <a:pt x="1262676" y="75314"/>
                </a:lnTo>
                <a:lnTo>
                  <a:pt x="1303598" y="94479"/>
                </a:lnTo>
                <a:lnTo>
                  <a:pt x="1343370" y="115602"/>
                </a:lnTo>
                <a:lnTo>
                  <a:pt x="1381932" y="138622"/>
                </a:lnTo>
                <a:lnTo>
                  <a:pt x="1419219" y="163477"/>
                </a:lnTo>
                <a:lnTo>
                  <a:pt x="1455170" y="190104"/>
                </a:lnTo>
                <a:lnTo>
                  <a:pt x="1489724" y="218440"/>
                </a:lnTo>
                <a:lnTo>
                  <a:pt x="1522816" y="248425"/>
                </a:lnTo>
                <a:lnTo>
                  <a:pt x="1554385" y="279994"/>
                </a:lnTo>
                <a:lnTo>
                  <a:pt x="1584370" y="313086"/>
                </a:lnTo>
                <a:lnTo>
                  <a:pt x="1612706" y="347640"/>
                </a:lnTo>
                <a:lnTo>
                  <a:pt x="1639333" y="383591"/>
                </a:lnTo>
                <a:lnTo>
                  <a:pt x="1664188" y="420879"/>
                </a:lnTo>
                <a:lnTo>
                  <a:pt x="1687208" y="459440"/>
                </a:lnTo>
                <a:lnTo>
                  <a:pt x="1708331" y="499213"/>
                </a:lnTo>
                <a:lnTo>
                  <a:pt x="1727496" y="540135"/>
                </a:lnTo>
                <a:lnTo>
                  <a:pt x="1744639" y="582143"/>
                </a:lnTo>
                <a:lnTo>
                  <a:pt x="1759698" y="625177"/>
                </a:lnTo>
                <a:lnTo>
                  <a:pt x="1772612" y="669173"/>
                </a:lnTo>
                <a:lnTo>
                  <a:pt x="1783317" y="714068"/>
                </a:lnTo>
                <a:lnTo>
                  <a:pt x="1791752" y="759802"/>
                </a:lnTo>
                <a:lnTo>
                  <a:pt x="1797854" y="806310"/>
                </a:lnTo>
                <a:lnTo>
                  <a:pt x="1801561" y="853532"/>
                </a:lnTo>
                <a:lnTo>
                  <a:pt x="1802810" y="901405"/>
                </a:lnTo>
                <a:lnTo>
                  <a:pt x="1801561" y="949278"/>
                </a:lnTo>
                <a:lnTo>
                  <a:pt x="1797854" y="996500"/>
                </a:lnTo>
                <a:lnTo>
                  <a:pt x="1791752" y="1043008"/>
                </a:lnTo>
                <a:lnTo>
                  <a:pt x="1783317" y="1088742"/>
                </a:lnTo>
                <a:lnTo>
                  <a:pt x="1772612" y="1133638"/>
                </a:lnTo>
                <a:lnTo>
                  <a:pt x="1759698" y="1177633"/>
                </a:lnTo>
                <a:lnTo>
                  <a:pt x="1744639" y="1220667"/>
                </a:lnTo>
                <a:lnTo>
                  <a:pt x="1727496" y="1262675"/>
                </a:lnTo>
                <a:lnTo>
                  <a:pt x="1708331" y="1303597"/>
                </a:lnTo>
                <a:lnTo>
                  <a:pt x="1687208" y="1343370"/>
                </a:lnTo>
                <a:lnTo>
                  <a:pt x="1664188" y="1381931"/>
                </a:lnTo>
                <a:lnTo>
                  <a:pt x="1639333" y="1419219"/>
                </a:lnTo>
                <a:lnTo>
                  <a:pt x="1612706" y="1455170"/>
                </a:lnTo>
                <a:lnTo>
                  <a:pt x="1584370" y="1489724"/>
                </a:lnTo>
                <a:lnTo>
                  <a:pt x="1554385" y="1522816"/>
                </a:lnTo>
                <a:lnTo>
                  <a:pt x="1522816" y="1554385"/>
                </a:lnTo>
                <a:lnTo>
                  <a:pt x="1489724" y="1584370"/>
                </a:lnTo>
                <a:lnTo>
                  <a:pt x="1455170" y="1612706"/>
                </a:lnTo>
                <a:lnTo>
                  <a:pt x="1419219" y="1639333"/>
                </a:lnTo>
                <a:lnTo>
                  <a:pt x="1381932" y="1664188"/>
                </a:lnTo>
                <a:lnTo>
                  <a:pt x="1343370" y="1687208"/>
                </a:lnTo>
                <a:lnTo>
                  <a:pt x="1303598" y="1708332"/>
                </a:lnTo>
                <a:lnTo>
                  <a:pt x="1262676" y="1727496"/>
                </a:lnTo>
                <a:lnTo>
                  <a:pt x="1220667" y="1744639"/>
                </a:lnTo>
                <a:lnTo>
                  <a:pt x="1177633" y="1759699"/>
                </a:lnTo>
                <a:lnTo>
                  <a:pt x="1133638" y="1772612"/>
                </a:lnTo>
                <a:lnTo>
                  <a:pt x="1088742" y="1783317"/>
                </a:lnTo>
                <a:lnTo>
                  <a:pt x="1043009" y="1791752"/>
                </a:lnTo>
                <a:lnTo>
                  <a:pt x="996500" y="1797854"/>
                </a:lnTo>
                <a:lnTo>
                  <a:pt x="949278" y="1801561"/>
                </a:lnTo>
                <a:lnTo>
                  <a:pt x="901405" y="1802811"/>
                </a:lnTo>
                <a:close/>
              </a:path>
            </a:pathLst>
          </a:custGeom>
          <a:solidFill>
            <a:srgbClr val="CCD0A7"/>
          </a:solidFill>
        </p:spPr>
        <p:txBody>
          <a:bodyPr wrap="square" lIns="0" tIns="0" rIns="0" bIns="0" rtlCol="0"/>
          <a:lstStyle/>
          <a:p>
            <a:pPr defTabSz="609630"/>
            <a:endParaRPr sz="1200" kern="0">
              <a:solidFill>
                <a:sysClr val="windowText" lastClr="000000"/>
              </a:solidFill>
            </a:endParaRPr>
          </a:p>
        </p:txBody>
      </p:sp>
      <p:grpSp>
        <p:nvGrpSpPr>
          <p:cNvPr id="4" name="object 4"/>
          <p:cNvGrpSpPr/>
          <p:nvPr/>
        </p:nvGrpSpPr>
        <p:grpSpPr>
          <a:xfrm>
            <a:off x="3829541" y="1092412"/>
            <a:ext cx="8362527" cy="5314950"/>
            <a:chOff x="5744311" y="1638617"/>
            <a:chExt cx="12543790" cy="7972425"/>
          </a:xfrm>
        </p:grpSpPr>
        <p:pic>
          <p:nvPicPr>
            <p:cNvPr id="5" name="object 5"/>
            <p:cNvPicPr/>
            <p:nvPr/>
          </p:nvPicPr>
          <p:blipFill>
            <a:blip r:embed="rId2" cstate="print"/>
            <a:stretch>
              <a:fillRect/>
            </a:stretch>
          </p:blipFill>
          <p:spPr>
            <a:xfrm>
              <a:off x="12569277" y="1972645"/>
              <a:ext cx="5718722" cy="7286624"/>
            </a:xfrm>
            <a:prstGeom prst="rect">
              <a:avLst/>
            </a:prstGeom>
          </p:spPr>
        </p:pic>
        <p:pic>
          <p:nvPicPr>
            <p:cNvPr id="6" name="object 6"/>
            <p:cNvPicPr/>
            <p:nvPr/>
          </p:nvPicPr>
          <p:blipFill>
            <a:blip r:embed="rId3" cstate="print"/>
            <a:stretch>
              <a:fillRect/>
            </a:stretch>
          </p:blipFill>
          <p:spPr>
            <a:xfrm>
              <a:off x="5744311" y="1638617"/>
              <a:ext cx="11277599" cy="7972424"/>
            </a:xfrm>
            <a:prstGeom prst="rect">
              <a:avLst/>
            </a:prstGeom>
          </p:spPr>
        </p:pic>
      </p:grpSp>
      <p:sp>
        <p:nvSpPr>
          <p:cNvPr id="7" name="object 7"/>
          <p:cNvSpPr txBox="1">
            <a:spLocks noGrp="1"/>
          </p:cNvSpPr>
          <p:nvPr>
            <p:ph type="title"/>
          </p:nvPr>
        </p:nvSpPr>
        <p:spPr>
          <a:xfrm>
            <a:off x="612856" y="129752"/>
            <a:ext cx="4006003" cy="1786814"/>
          </a:xfrm>
          <a:prstGeom prst="rect">
            <a:avLst/>
          </a:prstGeom>
        </p:spPr>
        <p:txBody>
          <a:bodyPr vert="horz" wrap="square" lIns="0" tIns="93133" rIns="0" bIns="0" rtlCol="0">
            <a:spAutoFit/>
          </a:bodyPr>
          <a:lstStyle/>
          <a:p>
            <a:pPr marL="975409" marR="3387" indent="-967365">
              <a:lnSpc>
                <a:spcPts val="6600"/>
              </a:lnSpc>
              <a:spcBef>
                <a:spcPts val="733"/>
              </a:spcBef>
            </a:pPr>
            <a:r>
              <a:rPr spc="117" dirty="0">
                <a:solidFill>
                  <a:srgbClr val="F5F5F5"/>
                </a:solidFill>
              </a:rPr>
              <a:t>Our</a:t>
            </a:r>
            <a:r>
              <a:rPr spc="-417" dirty="0">
                <a:solidFill>
                  <a:srgbClr val="F5F5F5"/>
                </a:solidFill>
              </a:rPr>
              <a:t> </a:t>
            </a:r>
            <a:r>
              <a:rPr spc="223" dirty="0">
                <a:solidFill>
                  <a:srgbClr val="F5F5F5"/>
                </a:solidFill>
              </a:rPr>
              <a:t>Future </a:t>
            </a:r>
            <a:r>
              <a:rPr spc="-13" dirty="0">
                <a:solidFill>
                  <a:srgbClr val="F5F5F5"/>
                </a:solidFill>
              </a:rPr>
              <a:t>Home</a:t>
            </a:r>
          </a:p>
        </p:txBody>
      </p:sp>
      <p:sp>
        <p:nvSpPr>
          <p:cNvPr id="8" name="object 8"/>
          <p:cNvSpPr txBox="1"/>
          <p:nvPr/>
        </p:nvSpPr>
        <p:spPr>
          <a:xfrm>
            <a:off x="7578758" y="6260405"/>
            <a:ext cx="809413" cy="141984"/>
          </a:xfrm>
          <a:prstGeom prst="rect">
            <a:avLst/>
          </a:prstGeom>
        </p:spPr>
        <p:txBody>
          <a:bodyPr vert="horz" wrap="square" lIns="0" tIns="8467" rIns="0" bIns="0" rtlCol="0">
            <a:spAutoFit/>
          </a:bodyPr>
          <a:lstStyle/>
          <a:p>
            <a:pPr marL="8467" defTabSz="609630">
              <a:spcBef>
                <a:spcPts val="67"/>
              </a:spcBef>
            </a:pPr>
            <a:r>
              <a:rPr sz="867" kern="0" spc="-33" dirty="0">
                <a:solidFill>
                  <a:sysClr val="windowText" lastClr="000000"/>
                </a:solidFill>
                <a:latin typeface="Noto Sans"/>
                <a:cs typeface="Noto Sans"/>
                <a:hlinkClick r:id="rId4"/>
              </a:rPr>
              <a:t>www.resilia.com</a:t>
            </a:r>
            <a:endParaRPr sz="867" kern="0">
              <a:solidFill>
                <a:sysClr val="windowText" lastClr="000000"/>
              </a:solidFill>
              <a:latin typeface="Noto Sans"/>
              <a:cs typeface="Noto Sans"/>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40241" y="373808"/>
            <a:ext cx="4610100" cy="3013218"/>
          </a:xfrm>
          <a:prstGeom prst="rect">
            <a:avLst/>
          </a:prstGeom>
        </p:spPr>
        <p:txBody>
          <a:bodyPr vert="horz" wrap="square" lIns="0" tIns="88477" rIns="0" bIns="0" rtlCol="0">
            <a:spAutoFit/>
          </a:bodyPr>
          <a:lstStyle/>
          <a:p>
            <a:pPr marL="8467" marR="3387" defTabSz="609630">
              <a:lnSpc>
                <a:spcPts val="5700"/>
              </a:lnSpc>
              <a:spcBef>
                <a:spcPts val="697"/>
              </a:spcBef>
            </a:pPr>
            <a:r>
              <a:rPr sz="5200" kern="0" spc="83" dirty="0">
                <a:solidFill>
                  <a:srgbClr val="33251B"/>
                </a:solidFill>
                <a:latin typeface="Palatino Linotype"/>
                <a:cs typeface="Palatino Linotype"/>
              </a:rPr>
              <a:t>Envisionist </a:t>
            </a:r>
            <a:r>
              <a:rPr sz="5200" kern="0" spc="197" dirty="0">
                <a:solidFill>
                  <a:srgbClr val="33251B"/>
                </a:solidFill>
                <a:latin typeface="Palatino Linotype"/>
                <a:cs typeface="Palatino Linotype"/>
              </a:rPr>
              <a:t>Future </a:t>
            </a:r>
            <a:r>
              <a:rPr sz="5200" kern="0" spc="80" dirty="0">
                <a:solidFill>
                  <a:srgbClr val="33251B"/>
                </a:solidFill>
                <a:latin typeface="Palatino Linotype"/>
                <a:cs typeface="Palatino Linotype"/>
              </a:rPr>
              <a:t>Ecosystem</a:t>
            </a:r>
            <a:r>
              <a:rPr sz="5200" kern="0" spc="-357" dirty="0">
                <a:solidFill>
                  <a:srgbClr val="33251B"/>
                </a:solidFill>
                <a:latin typeface="Palatino Linotype"/>
                <a:cs typeface="Palatino Linotype"/>
              </a:rPr>
              <a:t> </a:t>
            </a:r>
            <a:r>
              <a:rPr sz="5200" kern="0" spc="57" dirty="0">
                <a:solidFill>
                  <a:srgbClr val="33251B"/>
                </a:solidFill>
                <a:latin typeface="Palatino Linotype"/>
                <a:cs typeface="Palatino Linotype"/>
              </a:rPr>
              <a:t>on </a:t>
            </a:r>
            <a:r>
              <a:rPr sz="5200" kern="0" spc="237" dirty="0">
                <a:solidFill>
                  <a:srgbClr val="33251B"/>
                </a:solidFill>
                <a:latin typeface="Palatino Linotype"/>
                <a:cs typeface="Palatino Linotype"/>
              </a:rPr>
              <a:t>the</a:t>
            </a:r>
            <a:r>
              <a:rPr sz="5200" kern="0" spc="-357" dirty="0">
                <a:solidFill>
                  <a:srgbClr val="33251B"/>
                </a:solidFill>
                <a:latin typeface="Palatino Linotype"/>
                <a:cs typeface="Palatino Linotype"/>
              </a:rPr>
              <a:t> </a:t>
            </a:r>
            <a:r>
              <a:rPr sz="5200" kern="0" spc="169" dirty="0">
                <a:solidFill>
                  <a:srgbClr val="33251B"/>
                </a:solidFill>
                <a:latin typeface="Palatino Linotype"/>
                <a:cs typeface="Palatino Linotype"/>
              </a:rPr>
              <a:t>South</a:t>
            </a:r>
            <a:r>
              <a:rPr sz="5200" kern="0" spc="-357" dirty="0">
                <a:solidFill>
                  <a:srgbClr val="33251B"/>
                </a:solidFill>
                <a:latin typeface="Palatino Linotype"/>
                <a:cs typeface="Palatino Linotype"/>
              </a:rPr>
              <a:t> </a:t>
            </a:r>
            <a:r>
              <a:rPr sz="5200" kern="0" spc="117" dirty="0">
                <a:solidFill>
                  <a:srgbClr val="33251B"/>
                </a:solidFill>
                <a:latin typeface="Palatino Linotype"/>
                <a:cs typeface="Palatino Linotype"/>
              </a:rPr>
              <a:t>Side:</a:t>
            </a:r>
            <a:endParaRPr sz="5200" kern="0">
              <a:solidFill>
                <a:sysClr val="windowText" lastClr="000000"/>
              </a:solidFill>
              <a:latin typeface="Palatino Linotype"/>
              <a:cs typeface="Palatino Linotype"/>
            </a:endParaRPr>
          </a:p>
        </p:txBody>
      </p:sp>
      <p:pic>
        <p:nvPicPr>
          <p:cNvPr id="3" name="object 3"/>
          <p:cNvPicPr/>
          <p:nvPr/>
        </p:nvPicPr>
        <p:blipFill>
          <a:blip r:embed="rId2" cstate="print"/>
          <a:stretch>
            <a:fillRect/>
          </a:stretch>
        </p:blipFill>
        <p:spPr>
          <a:xfrm>
            <a:off x="773946" y="3487420"/>
            <a:ext cx="95249" cy="95249"/>
          </a:xfrm>
          <a:prstGeom prst="rect">
            <a:avLst/>
          </a:prstGeom>
        </p:spPr>
      </p:pic>
      <p:pic>
        <p:nvPicPr>
          <p:cNvPr id="4" name="object 4"/>
          <p:cNvPicPr/>
          <p:nvPr/>
        </p:nvPicPr>
        <p:blipFill>
          <a:blip r:embed="rId3" cstate="print"/>
          <a:stretch>
            <a:fillRect/>
          </a:stretch>
        </p:blipFill>
        <p:spPr>
          <a:xfrm>
            <a:off x="6895052" y="4644749"/>
            <a:ext cx="2057399" cy="2057399"/>
          </a:xfrm>
          <a:prstGeom prst="rect">
            <a:avLst/>
          </a:prstGeom>
        </p:spPr>
      </p:pic>
      <p:pic>
        <p:nvPicPr>
          <p:cNvPr id="5" name="object 5"/>
          <p:cNvPicPr/>
          <p:nvPr/>
        </p:nvPicPr>
        <p:blipFill>
          <a:blip r:embed="rId2" cstate="print"/>
          <a:stretch>
            <a:fillRect/>
          </a:stretch>
        </p:blipFill>
        <p:spPr>
          <a:xfrm>
            <a:off x="773946" y="3912870"/>
            <a:ext cx="95249" cy="95249"/>
          </a:xfrm>
          <a:prstGeom prst="rect">
            <a:avLst/>
          </a:prstGeom>
        </p:spPr>
      </p:pic>
      <p:pic>
        <p:nvPicPr>
          <p:cNvPr id="6" name="object 6"/>
          <p:cNvPicPr/>
          <p:nvPr/>
        </p:nvPicPr>
        <p:blipFill>
          <a:blip r:embed="rId4" cstate="print"/>
          <a:stretch>
            <a:fillRect/>
          </a:stretch>
        </p:blipFill>
        <p:spPr>
          <a:xfrm>
            <a:off x="9260319" y="2384425"/>
            <a:ext cx="2057399" cy="2057399"/>
          </a:xfrm>
          <a:prstGeom prst="rect">
            <a:avLst/>
          </a:prstGeom>
        </p:spPr>
      </p:pic>
      <p:pic>
        <p:nvPicPr>
          <p:cNvPr id="7" name="object 7"/>
          <p:cNvPicPr/>
          <p:nvPr/>
        </p:nvPicPr>
        <p:blipFill>
          <a:blip r:embed="rId5" cstate="print"/>
          <a:stretch>
            <a:fillRect/>
          </a:stretch>
        </p:blipFill>
        <p:spPr>
          <a:xfrm>
            <a:off x="6895052" y="2400300"/>
            <a:ext cx="2057399" cy="2057399"/>
          </a:xfrm>
          <a:prstGeom prst="rect">
            <a:avLst/>
          </a:prstGeom>
        </p:spPr>
      </p:pic>
      <p:pic>
        <p:nvPicPr>
          <p:cNvPr id="8" name="object 8"/>
          <p:cNvPicPr/>
          <p:nvPr/>
        </p:nvPicPr>
        <p:blipFill>
          <a:blip r:embed="rId2" cstate="print"/>
          <a:stretch>
            <a:fillRect/>
          </a:stretch>
        </p:blipFill>
        <p:spPr>
          <a:xfrm>
            <a:off x="773946" y="4763770"/>
            <a:ext cx="95249" cy="95249"/>
          </a:xfrm>
          <a:prstGeom prst="rect">
            <a:avLst/>
          </a:prstGeom>
        </p:spPr>
      </p:pic>
      <p:pic>
        <p:nvPicPr>
          <p:cNvPr id="9" name="object 9"/>
          <p:cNvPicPr/>
          <p:nvPr/>
        </p:nvPicPr>
        <p:blipFill>
          <a:blip r:embed="rId2" cstate="print"/>
          <a:stretch>
            <a:fillRect/>
          </a:stretch>
        </p:blipFill>
        <p:spPr>
          <a:xfrm>
            <a:off x="773946" y="5614670"/>
            <a:ext cx="95249" cy="95249"/>
          </a:xfrm>
          <a:prstGeom prst="rect">
            <a:avLst/>
          </a:prstGeom>
        </p:spPr>
      </p:pic>
      <p:pic>
        <p:nvPicPr>
          <p:cNvPr id="10" name="object 10"/>
          <p:cNvPicPr/>
          <p:nvPr/>
        </p:nvPicPr>
        <p:blipFill>
          <a:blip r:embed="rId2" cstate="print"/>
          <a:stretch>
            <a:fillRect/>
          </a:stretch>
        </p:blipFill>
        <p:spPr>
          <a:xfrm>
            <a:off x="773946" y="6040120"/>
            <a:ext cx="95249" cy="95249"/>
          </a:xfrm>
          <a:prstGeom prst="rect">
            <a:avLst/>
          </a:prstGeom>
        </p:spPr>
      </p:pic>
      <p:pic>
        <p:nvPicPr>
          <p:cNvPr id="11" name="object 11"/>
          <p:cNvPicPr/>
          <p:nvPr/>
        </p:nvPicPr>
        <p:blipFill>
          <a:blip r:embed="rId2" cstate="print"/>
          <a:stretch>
            <a:fillRect/>
          </a:stretch>
        </p:blipFill>
        <p:spPr>
          <a:xfrm>
            <a:off x="773946" y="6465570"/>
            <a:ext cx="95249" cy="95249"/>
          </a:xfrm>
          <a:prstGeom prst="rect">
            <a:avLst/>
          </a:prstGeom>
        </p:spPr>
      </p:pic>
      <p:sp>
        <p:nvSpPr>
          <p:cNvPr id="12" name="object 12"/>
          <p:cNvSpPr txBox="1"/>
          <p:nvPr/>
        </p:nvSpPr>
        <p:spPr>
          <a:xfrm>
            <a:off x="997850" y="3254164"/>
            <a:ext cx="5397923" cy="3442310"/>
          </a:xfrm>
          <a:prstGeom prst="rect">
            <a:avLst/>
          </a:prstGeom>
        </p:spPr>
        <p:txBody>
          <a:bodyPr vert="horz" wrap="square" lIns="0" tIns="68157" rIns="0" bIns="0" rtlCol="0">
            <a:spAutoFit/>
          </a:bodyPr>
          <a:lstStyle/>
          <a:p>
            <a:pPr marL="8467" defTabSz="609630">
              <a:spcBef>
                <a:spcPts val="537"/>
              </a:spcBef>
            </a:pPr>
            <a:r>
              <a:rPr sz="2400" kern="0" spc="83" dirty="0">
                <a:solidFill>
                  <a:srgbClr val="898B6B"/>
                </a:solidFill>
                <a:latin typeface="Tahoma"/>
                <a:cs typeface="Tahoma"/>
              </a:rPr>
              <a:t>Midwife</a:t>
            </a:r>
            <a:r>
              <a:rPr sz="2400" kern="0" spc="-136" dirty="0">
                <a:solidFill>
                  <a:srgbClr val="898B6B"/>
                </a:solidFill>
                <a:latin typeface="Tahoma"/>
                <a:cs typeface="Tahoma"/>
              </a:rPr>
              <a:t> </a:t>
            </a:r>
            <a:r>
              <a:rPr sz="2400" kern="0" spc="-17" dirty="0">
                <a:solidFill>
                  <a:srgbClr val="898B6B"/>
                </a:solidFill>
                <a:latin typeface="Tahoma"/>
                <a:cs typeface="Tahoma"/>
              </a:rPr>
              <a:t>led</a:t>
            </a:r>
            <a:endParaRPr sz="2400" kern="0">
              <a:solidFill>
                <a:sysClr val="windowText" lastClr="000000"/>
              </a:solidFill>
              <a:latin typeface="Tahoma"/>
              <a:cs typeface="Tahoma"/>
            </a:endParaRPr>
          </a:p>
          <a:p>
            <a:pPr marL="8467" marR="599047" defTabSz="609630">
              <a:lnSpc>
                <a:spcPct val="116300"/>
              </a:lnSpc>
            </a:pPr>
            <a:r>
              <a:rPr sz="2400" kern="0" spc="-23" dirty="0">
                <a:solidFill>
                  <a:srgbClr val="898B6B"/>
                </a:solidFill>
                <a:latin typeface="Tahoma"/>
                <a:cs typeface="Tahoma"/>
              </a:rPr>
              <a:t>Improve</a:t>
            </a:r>
            <a:r>
              <a:rPr sz="2400" kern="0" spc="-80" dirty="0">
                <a:solidFill>
                  <a:srgbClr val="898B6B"/>
                </a:solidFill>
                <a:latin typeface="Tahoma"/>
                <a:cs typeface="Tahoma"/>
              </a:rPr>
              <a:t> </a:t>
            </a:r>
            <a:r>
              <a:rPr sz="2400" kern="0" dirty="0">
                <a:solidFill>
                  <a:srgbClr val="898B6B"/>
                </a:solidFill>
                <a:latin typeface="Tahoma"/>
                <a:cs typeface="Tahoma"/>
              </a:rPr>
              <a:t>health/be</a:t>
            </a:r>
            <a:r>
              <a:rPr sz="2400" kern="0" spc="-76" dirty="0">
                <a:solidFill>
                  <a:srgbClr val="898B6B"/>
                </a:solidFill>
                <a:latin typeface="Tahoma"/>
                <a:cs typeface="Tahoma"/>
              </a:rPr>
              <a:t> </a:t>
            </a:r>
            <a:r>
              <a:rPr sz="2400" kern="0" spc="-40" dirty="0">
                <a:solidFill>
                  <a:srgbClr val="898B6B"/>
                </a:solidFill>
                <a:latin typeface="Tahoma"/>
                <a:cs typeface="Tahoma"/>
              </a:rPr>
              <a:t>an</a:t>
            </a:r>
            <a:r>
              <a:rPr sz="2400" kern="0" spc="-80" dirty="0">
                <a:solidFill>
                  <a:srgbClr val="898B6B"/>
                </a:solidFill>
                <a:latin typeface="Tahoma"/>
                <a:cs typeface="Tahoma"/>
              </a:rPr>
              <a:t> </a:t>
            </a:r>
            <a:r>
              <a:rPr sz="2400" kern="0" dirty="0">
                <a:solidFill>
                  <a:srgbClr val="898B6B"/>
                </a:solidFill>
                <a:latin typeface="Tahoma"/>
                <a:cs typeface="Tahoma"/>
              </a:rPr>
              <a:t>interrupter</a:t>
            </a:r>
            <a:r>
              <a:rPr sz="2400" kern="0" spc="-76" dirty="0">
                <a:solidFill>
                  <a:srgbClr val="898B6B"/>
                </a:solidFill>
                <a:latin typeface="Tahoma"/>
                <a:cs typeface="Tahoma"/>
              </a:rPr>
              <a:t> </a:t>
            </a:r>
            <a:r>
              <a:rPr sz="2400" kern="0" spc="37" dirty="0">
                <a:solidFill>
                  <a:srgbClr val="898B6B"/>
                </a:solidFill>
                <a:latin typeface="Tahoma"/>
                <a:cs typeface="Tahoma"/>
              </a:rPr>
              <a:t>to </a:t>
            </a:r>
            <a:r>
              <a:rPr sz="2400" kern="0" dirty="0">
                <a:solidFill>
                  <a:srgbClr val="898B6B"/>
                </a:solidFill>
                <a:latin typeface="Tahoma"/>
                <a:cs typeface="Tahoma"/>
              </a:rPr>
              <a:t>poor</a:t>
            </a:r>
            <a:r>
              <a:rPr sz="2400" kern="0" spc="-20" dirty="0">
                <a:solidFill>
                  <a:srgbClr val="898B6B"/>
                </a:solidFill>
                <a:latin typeface="Tahoma"/>
                <a:cs typeface="Tahoma"/>
              </a:rPr>
              <a:t> </a:t>
            </a:r>
            <a:r>
              <a:rPr sz="2400" kern="0" spc="-7" dirty="0">
                <a:solidFill>
                  <a:srgbClr val="898B6B"/>
                </a:solidFill>
                <a:latin typeface="Tahoma"/>
                <a:cs typeface="Tahoma"/>
              </a:rPr>
              <a:t>outcomes</a:t>
            </a:r>
            <a:endParaRPr sz="2400" kern="0">
              <a:solidFill>
                <a:sysClr val="windowText" lastClr="000000"/>
              </a:solidFill>
              <a:latin typeface="Tahoma"/>
              <a:cs typeface="Tahoma"/>
            </a:endParaRPr>
          </a:p>
          <a:p>
            <a:pPr marL="8467" marR="3387" defTabSz="609630">
              <a:lnSpc>
                <a:spcPct val="116300"/>
              </a:lnSpc>
            </a:pPr>
            <a:r>
              <a:rPr sz="2400" kern="0" dirty="0">
                <a:solidFill>
                  <a:srgbClr val="898B6B"/>
                </a:solidFill>
                <a:latin typeface="Tahoma"/>
                <a:cs typeface="Tahoma"/>
              </a:rPr>
              <a:t>Centering</a:t>
            </a:r>
            <a:r>
              <a:rPr sz="2400" kern="0" spc="-87" dirty="0">
                <a:solidFill>
                  <a:srgbClr val="898B6B"/>
                </a:solidFill>
                <a:latin typeface="Tahoma"/>
                <a:cs typeface="Tahoma"/>
              </a:rPr>
              <a:t> </a:t>
            </a:r>
            <a:r>
              <a:rPr sz="2400" kern="0" dirty="0">
                <a:solidFill>
                  <a:srgbClr val="898B6B"/>
                </a:solidFill>
                <a:latin typeface="Tahoma"/>
                <a:cs typeface="Tahoma"/>
              </a:rPr>
              <a:t>the</a:t>
            </a:r>
            <a:r>
              <a:rPr sz="2400" kern="0" spc="-87" dirty="0">
                <a:solidFill>
                  <a:srgbClr val="898B6B"/>
                </a:solidFill>
                <a:latin typeface="Tahoma"/>
                <a:cs typeface="Tahoma"/>
              </a:rPr>
              <a:t> </a:t>
            </a:r>
            <a:r>
              <a:rPr sz="2400" kern="0" dirty="0">
                <a:solidFill>
                  <a:srgbClr val="898B6B"/>
                </a:solidFill>
                <a:latin typeface="Tahoma"/>
                <a:cs typeface="Tahoma"/>
              </a:rPr>
              <a:t>experiences</a:t>
            </a:r>
            <a:r>
              <a:rPr sz="2400" kern="0" spc="-87" dirty="0">
                <a:solidFill>
                  <a:srgbClr val="898B6B"/>
                </a:solidFill>
                <a:latin typeface="Tahoma"/>
                <a:cs typeface="Tahoma"/>
              </a:rPr>
              <a:t> </a:t>
            </a:r>
            <a:r>
              <a:rPr sz="2400" kern="0" spc="60" dirty="0">
                <a:solidFill>
                  <a:srgbClr val="898B6B"/>
                </a:solidFill>
                <a:latin typeface="Tahoma"/>
                <a:cs typeface="Tahoma"/>
              </a:rPr>
              <a:t>of</a:t>
            </a:r>
            <a:r>
              <a:rPr sz="2400" kern="0" spc="-87" dirty="0">
                <a:solidFill>
                  <a:srgbClr val="898B6B"/>
                </a:solidFill>
                <a:latin typeface="Tahoma"/>
                <a:cs typeface="Tahoma"/>
              </a:rPr>
              <a:t> </a:t>
            </a:r>
            <a:r>
              <a:rPr sz="2400" kern="0" dirty="0">
                <a:solidFill>
                  <a:srgbClr val="898B6B"/>
                </a:solidFill>
                <a:latin typeface="Tahoma"/>
                <a:cs typeface="Tahoma"/>
              </a:rPr>
              <a:t>clients</a:t>
            </a:r>
            <a:r>
              <a:rPr sz="2400" kern="0" spc="-87" dirty="0">
                <a:solidFill>
                  <a:srgbClr val="898B6B"/>
                </a:solidFill>
                <a:latin typeface="Tahoma"/>
                <a:cs typeface="Tahoma"/>
              </a:rPr>
              <a:t> </a:t>
            </a:r>
            <a:r>
              <a:rPr sz="2400" kern="0" spc="-17" dirty="0">
                <a:solidFill>
                  <a:srgbClr val="898B6B"/>
                </a:solidFill>
                <a:latin typeface="Tahoma"/>
                <a:cs typeface="Tahoma"/>
              </a:rPr>
              <a:t>and </a:t>
            </a:r>
            <a:r>
              <a:rPr sz="2400" kern="0" dirty="0">
                <a:solidFill>
                  <a:srgbClr val="898B6B"/>
                </a:solidFill>
                <a:latin typeface="Tahoma"/>
                <a:cs typeface="Tahoma"/>
              </a:rPr>
              <a:t>their</a:t>
            </a:r>
            <a:r>
              <a:rPr sz="2400" kern="0" spc="-73" dirty="0">
                <a:solidFill>
                  <a:srgbClr val="898B6B"/>
                </a:solidFill>
                <a:latin typeface="Tahoma"/>
                <a:cs typeface="Tahoma"/>
              </a:rPr>
              <a:t> </a:t>
            </a:r>
            <a:r>
              <a:rPr sz="2400" kern="0" spc="-7" dirty="0">
                <a:solidFill>
                  <a:srgbClr val="898B6B"/>
                </a:solidFill>
                <a:latin typeface="Tahoma"/>
                <a:cs typeface="Tahoma"/>
              </a:rPr>
              <a:t>culture</a:t>
            </a:r>
            <a:endParaRPr sz="2400" kern="0">
              <a:solidFill>
                <a:sysClr val="windowText" lastClr="000000"/>
              </a:solidFill>
              <a:latin typeface="Tahoma"/>
              <a:cs typeface="Tahoma"/>
            </a:endParaRPr>
          </a:p>
          <a:p>
            <a:pPr marL="8467" marR="2097298" defTabSz="609630">
              <a:lnSpc>
                <a:spcPct val="116300"/>
              </a:lnSpc>
            </a:pPr>
            <a:r>
              <a:rPr sz="2400" kern="0" dirty="0">
                <a:solidFill>
                  <a:srgbClr val="898B6B"/>
                </a:solidFill>
                <a:latin typeface="Tahoma"/>
                <a:cs typeface="Tahoma"/>
              </a:rPr>
              <a:t>Concordant</a:t>
            </a:r>
            <a:r>
              <a:rPr sz="2400" kern="0" spc="123" dirty="0">
                <a:solidFill>
                  <a:srgbClr val="898B6B"/>
                </a:solidFill>
                <a:latin typeface="Tahoma"/>
                <a:cs typeface="Tahoma"/>
              </a:rPr>
              <a:t> </a:t>
            </a:r>
            <a:r>
              <a:rPr sz="2400" kern="0" spc="-13" dirty="0">
                <a:solidFill>
                  <a:srgbClr val="898B6B"/>
                </a:solidFill>
                <a:latin typeface="Tahoma"/>
                <a:cs typeface="Tahoma"/>
              </a:rPr>
              <a:t>care </a:t>
            </a:r>
            <a:r>
              <a:rPr sz="2400" kern="0" dirty="0">
                <a:solidFill>
                  <a:srgbClr val="898B6B"/>
                </a:solidFill>
                <a:latin typeface="Tahoma"/>
                <a:cs typeface="Tahoma"/>
              </a:rPr>
              <a:t>Community</a:t>
            </a:r>
            <a:r>
              <a:rPr sz="2400" kern="0" spc="37" dirty="0">
                <a:solidFill>
                  <a:srgbClr val="898B6B"/>
                </a:solidFill>
                <a:latin typeface="Tahoma"/>
                <a:cs typeface="Tahoma"/>
              </a:rPr>
              <a:t> </a:t>
            </a:r>
            <a:r>
              <a:rPr sz="2400" kern="0" spc="-20" dirty="0">
                <a:solidFill>
                  <a:srgbClr val="898B6B"/>
                </a:solidFill>
                <a:latin typeface="Tahoma"/>
                <a:cs typeface="Tahoma"/>
              </a:rPr>
              <a:t>engagement</a:t>
            </a:r>
            <a:endParaRPr sz="2400" kern="0">
              <a:solidFill>
                <a:sysClr val="windowText" lastClr="000000"/>
              </a:solidFill>
              <a:latin typeface="Tahoma"/>
              <a:cs typeface="Tahoma"/>
            </a:endParaRPr>
          </a:p>
          <a:p>
            <a:pPr marL="8467" defTabSz="609630">
              <a:spcBef>
                <a:spcPts val="470"/>
              </a:spcBef>
            </a:pPr>
            <a:r>
              <a:rPr sz="2400" kern="0" spc="57" dirty="0">
                <a:solidFill>
                  <a:srgbClr val="898B6B"/>
                </a:solidFill>
                <a:latin typeface="Tahoma"/>
                <a:cs typeface="Tahoma"/>
              </a:rPr>
              <a:t>Multiple</a:t>
            </a:r>
            <a:r>
              <a:rPr sz="2400" kern="0" spc="-147" dirty="0">
                <a:solidFill>
                  <a:srgbClr val="898B6B"/>
                </a:solidFill>
                <a:latin typeface="Tahoma"/>
                <a:cs typeface="Tahoma"/>
              </a:rPr>
              <a:t> </a:t>
            </a:r>
            <a:r>
              <a:rPr sz="2400" kern="0" spc="-7" dirty="0">
                <a:solidFill>
                  <a:srgbClr val="898B6B"/>
                </a:solidFill>
                <a:latin typeface="Tahoma"/>
                <a:cs typeface="Tahoma"/>
              </a:rPr>
              <a:t>“Perinatal</a:t>
            </a:r>
            <a:r>
              <a:rPr sz="2400" kern="0" spc="-147" dirty="0">
                <a:solidFill>
                  <a:srgbClr val="898B6B"/>
                </a:solidFill>
                <a:latin typeface="Tahoma"/>
                <a:cs typeface="Tahoma"/>
              </a:rPr>
              <a:t> </a:t>
            </a:r>
            <a:r>
              <a:rPr sz="2400" kern="0" dirty="0">
                <a:solidFill>
                  <a:srgbClr val="898B6B"/>
                </a:solidFill>
                <a:latin typeface="Tahoma"/>
                <a:cs typeface="Tahoma"/>
              </a:rPr>
              <a:t>Safe</a:t>
            </a:r>
            <a:r>
              <a:rPr sz="2400" kern="0" spc="-147" dirty="0">
                <a:solidFill>
                  <a:srgbClr val="898B6B"/>
                </a:solidFill>
                <a:latin typeface="Tahoma"/>
                <a:cs typeface="Tahoma"/>
              </a:rPr>
              <a:t> </a:t>
            </a:r>
            <a:r>
              <a:rPr sz="2400" kern="0" spc="-7" dirty="0">
                <a:solidFill>
                  <a:srgbClr val="898B6B"/>
                </a:solidFill>
                <a:latin typeface="Tahoma"/>
                <a:cs typeface="Tahoma"/>
              </a:rPr>
              <a:t>Zones”</a:t>
            </a:r>
            <a:endParaRPr sz="2400" kern="0">
              <a:solidFill>
                <a:sysClr val="windowText" lastClr="000000"/>
              </a:solidFill>
              <a:latin typeface="Tahoma"/>
              <a:cs typeface="Tahoma"/>
            </a:endParaRPr>
          </a:p>
        </p:txBody>
      </p:sp>
      <p:sp>
        <p:nvSpPr>
          <p:cNvPr id="13" name="object 13"/>
          <p:cNvSpPr/>
          <p:nvPr/>
        </p:nvSpPr>
        <p:spPr>
          <a:xfrm>
            <a:off x="9545013" y="307357"/>
            <a:ext cx="1488863" cy="1803400"/>
          </a:xfrm>
          <a:custGeom>
            <a:avLst/>
            <a:gdLst/>
            <a:ahLst/>
            <a:cxnLst/>
            <a:rect l="l" t="t" r="r" b="b"/>
            <a:pathLst>
              <a:path w="2233294" h="2705100">
                <a:moveTo>
                  <a:pt x="199521" y="1981200"/>
                </a:moveTo>
                <a:lnTo>
                  <a:pt x="176772" y="1981200"/>
                </a:lnTo>
                <a:lnTo>
                  <a:pt x="129426" y="1968500"/>
                </a:lnTo>
                <a:lnTo>
                  <a:pt x="87100" y="1955800"/>
                </a:lnTo>
                <a:lnTo>
                  <a:pt x="51394" y="1930400"/>
                </a:lnTo>
                <a:lnTo>
                  <a:pt x="23909" y="1892300"/>
                </a:lnTo>
                <a:lnTo>
                  <a:pt x="6244" y="1854200"/>
                </a:lnTo>
                <a:lnTo>
                  <a:pt x="0" y="1803400"/>
                </a:lnTo>
                <a:lnTo>
                  <a:pt x="0" y="1117600"/>
                </a:lnTo>
                <a:lnTo>
                  <a:pt x="2781" y="1066800"/>
                </a:lnTo>
                <a:lnTo>
                  <a:pt x="10921" y="1028700"/>
                </a:lnTo>
                <a:lnTo>
                  <a:pt x="24109" y="977900"/>
                </a:lnTo>
                <a:lnTo>
                  <a:pt x="42035" y="939800"/>
                </a:lnTo>
                <a:lnTo>
                  <a:pt x="64391" y="889000"/>
                </a:lnTo>
                <a:lnTo>
                  <a:pt x="90866" y="863600"/>
                </a:lnTo>
                <a:lnTo>
                  <a:pt x="121152" y="825500"/>
                </a:lnTo>
                <a:lnTo>
                  <a:pt x="154938" y="787400"/>
                </a:lnTo>
                <a:lnTo>
                  <a:pt x="191915" y="762000"/>
                </a:lnTo>
                <a:lnTo>
                  <a:pt x="231775" y="749300"/>
                </a:lnTo>
                <a:lnTo>
                  <a:pt x="274206" y="723900"/>
                </a:lnTo>
                <a:lnTo>
                  <a:pt x="318900" y="711200"/>
                </a:lnTo>
                <a:lnTo>
                  <a:pt x="365547" y="698500"/>
                </a:lnTo>
                <a:lnTo>
                  <a:pt x="328189" y="673100"/>
                </a:lnTo>
                <a:lnTo>
                  <a:pt x="295310" y="635000"/>
                </a:lnTo>
                <a:lnTo>
                  <a:pt x="267371" y="584200"/>
                </a:lnTo>
                <a:lnTo>
                  <a:pt x="244836" y="546100"/>
                </a:lnTo>
                <a:lnTo>
                  <a:pt x="228167" y="495300"/>
                </a:lnTo>
                <a:lnTo>
                  <a:pt x="217827" y="444500"/>
                </a:lnTo>
                <a:lnTo>
                  <a:pt x="214277" y="393700"/>
                </a:lnTo>
                <a:lnTo>
                  <a:pt x="216953" y="342900"/>
                </a:lnTo>
                <a:lnTo>
                  <a:pt x="224780" y="304800"/>
                </a:lnTo>
                <a:lnTo>
                  <a:pt x="237458" y="254000"/>
                </a:lnTo>
                <a:lnTo>
                  <a:pt x="254687" y="215900"/>
                </a:lnTo>
                <a:lnTo>
                  <a:pt x="276166" y="177800"/>
                </a:lnTo>
                <a:lnTo>
                  <a:pt x="301596" y="139700"/>
                </a:lnTo>
                <a:lnTo>
                  <a:pt x="330676" y="114300"/>
                </a:lnTo>
                <a:lnTo>
                  <a:pt x="363105" y="76200"/>
                </a:lnTo>
                <a:lnTo>
                  <a:pt x="398585" y="50800"/>
                </a:lnTo>
                <a:lnTo>
                  <a:pt x="436814" y="38100"/>
                </a:lnTo>
                <a:lnTo>
                  <a:pt x="477492" y="12700"/>
                </a:lnTo>
                <a:lnTo>
                  <a:pt x="520319" y="0"/>
                </a:lnTo>
                <a:lnTo>
                  <a:pt x="702118" y="0"/>
                </a:lnTo>
                <a:lnTo>
                  <a:pt x="744944" y="12700"/>
                </a:lnTo>
                <a:lnTo>
                  <a:pt x="785619" y="38100"/>
                </a:lnTo>
                <a:lnTo>
                  <a:pt x="823845" y="50800"/>
                </a:lnTo>
                <a:lnTo>
                  <a:pt x="859321" y="76200"/>
                </a:lnTo>
                <a:lnTo>
                  <a:pt x="870130" y="88900"/>
                </a:lnTo>
                <a:lnTo>
                  <a:pt x="565803" y="88900"/>
                </a:lnTo>
                <a:lnTo>
                  <a:pt x="522434" y="101600"/>
                </a:lnTo>
                <a:lnTo>
                  <a:pt x="481592" y="114300"/>
                </a:lnTo>
                <a:lnTo>
                  <a:pt x="443758" y="127000"/>
                </a:lnTo>
                <a:lnTo>
                  <a:pt x="409411" y="152400"/>
                </a:lnTo>
                <a:lnTo>
                  <a:pt x="379032" y="190500"/>
                </a:lnTo>
                <a:lnTo>
                  <a:pt x="353100" y="228600"/>
                </a:lnTo>
                <a:lnTo>
                  <a:pt x="332095" y="266700"/>
                </a:lnTo>
                <a:lnTo>
                  <a:pt x="316497" y="304800"/>
                </a:lnTo>
                <a:lnTo>
                  <a:pt x="306786" y="342900"/>
                </a:lnTo>
                <a:lnTo>
                  <a:pt x="303443" y="393700"/>
                </a:lnTo>
                <a:lnTo>
                  <a:pt x="307350" y="444500"/>
                </a:lnTo>
                <a:lnTo>
                  <a:pt x="318667" y="482600"/>
                </a:lnTo>
                <a:lnTo>
                  <a:pt x="336785" y="533400"/>
                </a:lnTo>
                <a:lnTo>
                  <a:pt x="361095" y="571500"/>
                </a:lnTo>
                <a:lnTo>
                  <a:pt x="390991" y="609600"/>
                </a:lnTo>
                <a:lnTo>
                  <a:pt x="425863" y="635000"/>
                </a:lnTo>
                <a:lnTo>
                  <a:pt x="465104" y="660400"/>
                </a:lnTo>
                <a:lnTo>
                  <a:pt x="508106" y="685800"/>
                </a:lnTo>
                <a:lnTo>
                  <a:pt x="554260" y="698500"/>
                </a:lnTo>
                <a:lnTo>
                  <a:pt x="1867144" y="698500"/>
                </a:lnTo>
                <a:lnTo>
                  <a:pt x="1913791" y="711200"/>
                </a:lnTo>
                <a:lnTo>
                  <a:pt x="1958485" y="723900"/>
                </a:lnTo>
                <a:lnTo>
                  <a:pt x="2000916" y="749300"/>
                </a:lnTo>
                <a:lnTo>
                  <a:pt x="2040775" y="762000"/>
                </a:lnTo>
                <a:lnTo>
                  <a:pt x="2077752" y="787400"/>
                </a:lnTo>
                <a:lnTo>
                  <a:pt x="371114" y="787400"/>
                </a:lnTo>
                <a:lnTo>
                  <a:pt x="324509" y="800100"/>
                </a:lnTo>
                <a:lnTo>
                  <a:pt x="280619" y="812800"/>
                </a:lnTo>
                <a:lnTo>
                  <a:pt x="239960" y="838200"/>
                </a:lnTo>
                <a:lnTo>
                  <a:pt x="203049" y="863600"/>
                </a:lnTo>
                <a:lnTo>
                  <a:pt x="170401" y="901700"/>
                </a:lnTo>
                <a:lnTo>
                  <a:pt x="142532" y="939800"/>
                </a:lnTo>
                <a:lnTo>
                  <a:pt x="119958" y="977900"/>
                </a:lnTo>
                <a:lnTo>
                  <a:pt x="103195" y="1028700"/>
                </a:lnTo>
                <a:lnTo>
                  <a:pt x="92758" y="1066800"/>
                </a:lnTo>
                <a:lnTo>
                  <a:pt x="89165" y="1117600"/>
                </a:lnTo>
                <a:lnTo>
                  <a:pt x="89165" y="1803400"/>
                </a:lnTo>
                <a:lnTo>
                  <a:pt x="95855" y="1841500"/>
                </a:lnTo>
                <a:lnTo>
                  <a:pt x="114087" y="1866900"/>
                </a:lnTo>
                <a:lnTo>
                  <a:pt x="141105" y="1879600"/>
                </a:lnTo>
                <a:lnTo>
                  <a:pt x="174153" y="1892300"/>
                </a:lnTo>
                <a:lnTo>
                  <a:pt x="350894" y="1892300"/>
                </a:lnTo>
                <a:lnTo>
                  <a:pt x="350894" y="1955800"/>
                </a:lnTo>
                <a:lnTo>
                  <a:pt x="261759" y="1955800"/>
                </a:lnTo>
                <a:lnTo>
                  <a:pt x="242202" y="1968500"/>
                </a:lnTo>
                <a:lnTo>
                  <a:pt x="221393" y="1968500"/>
                </a:lnTo>
                <a:lnTo>
                  <a:pt x="199521" y="1981200"/>
                </a:lnTo>
                <a:close/>
              </a:path>
              <a:path w="2233294" h="2705100">
                <a:moveTo>
                  <a:pt x="1593287" y="698500"/>
                </a:moveTo>
                <a:lnTo>
                  <a:pt x="1369781" y="698500"/>
                </a:lnTo>
                <a:lnTo>
                  <a:pt x="1333838" y="660400"/>
                </a:lnTo>
                <a:lnTo>
                  <a:pt x="1302242" y="622300"/>
                </a:lnTo>
                <a:lnTo>
                  <a:pt x="1275426" y="584200"/>
                </a:lnTo>
                <a:lnTo>
                  <a:pt x="1253818" y="546100"/>
                </a:lnTo>
                <a:lnTo>
                  <a:pt x="1237851" y="495300"/>
                </a:lnTo>
                <a:lnTo>
                  <a:pt x="1227954" y="444500"/>
                </a:lnTo>
                <a:lnTo>
                  <a:pt x="1224560" y="393700"/>
                </a:lnTo>
                <a:lnTo>
                  <a:pt x="1227235" y="342900"/>
                </a:lnTo>
                <a:lnTo>
                  <a:pt x="1235061" y="304800"/>
                </a:lnTo>
                <a:lnTo>
                  <a:pt x="1247737" y="254000"/>
                </a:lnTo>
                <a:lnTo>
                  <a:pt x="1264963" y="215900"/>
                </a:lnTo>
                <a:lnTo>
                  <a:pt x="1286439" y="177800"/>
                </a:lnTo>
                <a:lnTo>
                  <a:pt x="1311866" y="139700"/>
                </a:lnTo>
                <a:lnTo>
                  <a:pt x="1340942" y="114300"/>
                </a:lnTo>
                <a:lnTo>
                  <a:pt x="1373369" y="76200"/>
                </a:lnTo>
                <a:lnTo>
                  <a:pt x="1408845" y="50800"/>
                </a:lnTo>
                <a:lnTo>
                  <a:pt x="1447071" y="38100"/>
                </a:lnTo>
                <a:lnTo>
                  <a:pt x="1487747" y="12700"/>
                </a:lnTo>
                <a:lnTo>
                  <a:pt x="1530572" y="0"/>
                </a:lnTo>
                <a:lnTo>
                  <a:pt x="1712371" y="0"/>
                </a:lnTo>
                <a:lnTo>
                  <a:pt x="1755198" y="12700"/>
                </a:lnTo>
                <a:lnTo>
                  <a:pt x="1795877" y="38100"/>
                </a:lnTo>
                <a:lnTo>
                  <a:pt x="1834106" y="50800"/>
                </a:lnTo>
                <a:lnTo>
                  <a:pt x="1869585" y="76200"/>
                </a:lnTo>
                <a:lnTo>
                  <a:pt x="1880395" y="88900"/>
                </a:lnTo>
                <a:lnTo>
                  <a:pt x="1576055" y="88900"/>
                </a:lnTo>
                <a:lnTo>
                  <a:pt x="1532688" y="101600"/>
                </a:lnTo>
                <a:lnTo>
                  <a:pt x="1491849" y="114300"/>
                </a:lnTo>
                <a:lnTo>
                  <a:pt x="1454019" y="127000"/>
                </a:lnTo>
                <a:lnTo>
                  <a:pt x="1419676" y="152400"/>
                </a:lnTo>
                <a:lnTo>
                  <a:pt x="1389301" y="190500"/>
                </a:lnTo>
                <a:lnTo>
                  <a:pt x="1363373" y="228600"/>
                </a:lnTo>
                <a:lnTo>
                  <a:pt x="1342371" y="266700"/>
                </a:lnTo>
                <a:lnTo>
                  <a:pt x="1326777" y="304800"/>
                </a:lnTo>
                <a:lnTo>
                  <a:pt x="1317068" y="342900"/>
                </a:lnTo>
                <a:lnTo>
                  <a:pt x="1313725" y="393700"/>
                </a:lnTo>
                <a:lnTo>
                  <a:pt x="1317326" y="431800"/>
                </a:lnTo>
                <a:lnTo>
                  <a:pt x="1327772" y="482600"/>
                </a:lnTo>
                <a:lnTo>
                  <a:pt x="1344525" y="520700"/>
                </a:lnTo>
                <a:lnTo>
                  <a:pt x="1367048" y="558800"/>
                </a:lnTo>
                <a:lnTo>
                  <a:pt x="1394804" y="596900"/>
                </a:lnTo>
                <a:lnTo>
                  <a:pt x="1427257" y="635000"/>
                </a:lnTo>
                <a:lnTo>
                  <a:pt x="1463868" y="660400"/>
                </a:lnTo>
                <a:lnTo>
                  <a:pt x="1504102" y="673100"/>
                </a:lnTo>
                <a:lnTo>
                  <a:pt x="1547420" y="685800"/>
                </a:lnTo>
                <a:lnTo>
                  <a:pt x="1593287" y="698500"/>
                </a:lnTo>
                <a:close/>
              </a:path>
              <a:path w="2233294" h="2705100">
                <a:moveTo>
                  <a:pt x="862161" y="698500"/>
                </a:moveTo>
                <a:lnTo>
                  <a:pt x="668876" y="698500"/>
                </a:lnTo>
                <a:lnTo>
                  <a:pt x="714913" y="685800"/>
                </a:lnTo>
                <a:lnTo>
                  <a:pt x="757799" y="660400"/>
                </a:lnTo>
                <a:lnTo>
                  <a:pt x="796928" y="635000"/>
                </a:lnTo>
                <a:lnTo>
                  <a:pt x="831698" y="609600"/>
                </a:lnTo>
                <a:lnTo>
                  <a:pt x="861501" y="571500"/>
                </a:lnTo>
                <a:lnTo>
                  <a:pt x="885735" y="533400"/>
                </a:lnTo>
                <a:lnTo>
                  <a:pt x="903793" y="482600"/>
                </a:lnTo>
                <a:lnTo>
                  <a:pt x="915071" y="444500"/>
                </a:lnTo>
                <a:lnTo>
                  <a:pt x="918965" y="393700"/>
                </a:lnTo>
                <a:lnTo>
                  <a:pt x="915622" y="342900"/>
                </a:lnTo>
                <a:lnTo>
                  <a:pt x="905914" y="304800"/>
                </a:lnTo>
                <a:lnTo>
                  <a:pt x="890319" y="266700"/>
                </a:lnTo>
                <a:lnTo>
                  <a:pt x="869318" y="228600"/>
                </a:lnTo>
                <a:lnTo>
                  <a:pt x="843390" y="190500"/>
                </a:lnTo>
                <a:lnTo>
                  <a:pt x="813015" y="152400"/>
                </a:lnTo>
                <a:lnTo>
                  <a:pt x="778672" y="127000"/>
                </a:lnTo>
                <a:lnTo>
                  <a:pt x="740841" y="114300"/>
                </a:lnTo>
                <a:lnTo>
                  <a:pt x="700003" y="101600"/>
                </a:lnTo>
                <a:lnTo>
                  <a:pt x="656636" y="88900"/>
                </a:lnTo>
                <a:lnTo>
                  <a:pt x="870130" y="88900"/>
                </a:lnTo>
                <a:lnTo>
                  <a:pt x="891748" y="114300"/>
                </a:lnTo>
                <a:lnTo>
                  <a:pt x="920824" y="139700"/>
                </a:lnTo>
                <a:lnTo>
                  <a:pt x="946251" y="177800"/>
                </a:lnTo>
                <a:lnTo>
                  <a:pt x="967728" y="215900"/>
                </a:lnTo>
                <a:lnTo>
                  <a:pt x="984954" y="254000"/>
                </a:lnTo>
                <a:lnTo>
                  <a:pt x="997630" y="304800"/>
                </a:lnTo>
                <a:lnTo>
                  <a:pt x="1005456" y="342900"/>
                </a:lnTo>
                <a:lnTo>
                  <a:pt x="1008131" y="393700"/>
                </a:lnTo>
                <a:lnTo>
                  <a:pt x="1004718" y="444500"/>
                </a:lnTo>
                <a:lnTo>
                  <a:pt x="994768" y="495300"/>
                </a:lnTo>
                <a:lnTo>
                  <a:pt x="978715" y="546100"/>
                </a:lnTo>
                <a:lnTo>
                  <a:pt x="956994" y="584200"/>
                </a:lnTo>
                <a:lnTo>
                  <a:pt x="930039" y="622300"/>
                </a:lnTo>
                <a:lnTo>
                  <a:pt x="898283" y="660400"/>
                </a:lnTo>
                <a:lnTo>
                  <a:pt x="862161" y="698500"/>
                </a:lnTo>
                <a:close/>
              </a:path>
              <a:path w="2233294" h="2705100">
                <a:moveTo>
                  <a:pt x="1867144" y="698500"/>
                </a:moveTo>
                <a:lnTo>
                  <a:pt x="1679794" y="698500"/>
                </a:lnTo>
                <a:lnTo>
                  <a:pt x="1725722" y="685800"/>
                </a:lnTo>
                <a:lnTo>
                  <a:pt x="1768503" y="660400"/>
                </a:lnTo>
                <a:lnTo>
                  <a:pt x="1807534" y="635000"/>
                </a:lnTo>
                <a:lnTo>
                  <a:pt x="1842214" y="609600"/>
                </a:lnTo>
                <a:lnTo>
                  <a:pt x="1871939" y="571500"/>
                </a:lnTo>
                <a:lnTo>
                  <a:pt x="1896108" y="533400"/>
                </a:lnTo>
                <a:lnTo>
                  <a:pt x="1914117" y="482600"/>
                </a:lnTo>
                <a:lnTo>
                  <a:pt x="1925365" y="444500"/>
                </a:lnTo>
                <a:lnTo>
                  <a:pt x="1929248" y="393700"/>
                </a:lnTo>
                <a:lnTo>
                  <a:pt x="1925904" y="342900"/>
                </a:lnTo>
                <a:lnTo>
                  <a:pt x="1916194" y="304800"/>
                </a:lnTo>
                <a:lnTo>
                  <a:pt x="1900596" y="266700"/>
                </a:lnTo>
                <a:lnTo>
                  <a:pt x="1879591" y="228600"/>
                </a:lnTo>
                <a:lnTo>
                  <a:pt x="1853659" y="190500"/>
                </a:lnTo>
                <a:lnTo>
                  <a:pt x="1823279" y="152400"/>
                </a:lnTo>
                <a:lnTo>
                  <a:pt x="1788932" y="127000"/>
                </a:lnTo>
                <a:lnTo>
                  <a:pt x="1751098" y="114300"/>
                </a:lnTo>
                <a:lnTo>
                  <a:pt x="1710257" y="101600"/>
                </a:lnTo>
                <a:lnTo>
                  <a:pt x="1666887" y="88900"/>
                </a:lnTo>
                <a:lnTo>
                  <a:pt x="1880395" y="88900"/>
                </a:lnTo>
                <a:lnTo>
                  <a:pt x="1902015" y="114300"/>
                </a:lnTo>
                <a:lnTo>
                  <a:pt x="1931095" y="139700"/>
                </a:lnTo>
                <a:lnTo>
                  <a:pt x="1956524" y="177800"/>
                </a:lnTo>
                <a:lnTo>
                  <a:pt x="1978004" y="215900"/>
                </a:lnTo>
                <a:lnTo>
                  <a:pt x="1995233" y="254000"/>
                </a:lnTo>
                <a:lnTo>
                  <a:pt x="2007911" y="304800"/>
                </a:lnTo>
                <a:lnTo>
                  <a:pt x="2015737" y="342900"/>
                </a:lnTo>
                <a:lnTo>
                  <a:pt x="2018413" y="393700"/>
                </a:lnTo>
                <a:lnTo>
                  <a:pt x="2014864" y="444500"/>
                </a:lnTo>
                <a:lnTo>
                  <a:pt x="2004523" y="495300"/>
                </a:lnTo>
                <a:lnTo>
                  <a:pt x="1987854" y="546100"/>
                </a:lnTo>
                <a:lnTo>
                  <a:pt x="1965319" y="584200"/>
                </a:lnTo>
                <a:lnTo>
                  <a:pt x="1937381" y="635000"/>
                </a:lnTo>
                <a:lnTo>
                  <a:pt x="1904501" y="673100"/>
                </a:lnTo>
                <a:lnTo>
                  <a:pt x="1867144" y="698500"/>
                </a:lnTo>
                <a:close/>
              </a:path>
              <a:path w="2233294" h="2705100">
                <a:moveTo>
                  <a:pt x="933078" y="2616200"/>
                </a:moveTo>
                <a:lnTo>
                  <a:pt x="806527" y="2616200"/>
                </a:lnTo>
                <a:lnTo>
                  <a:pt x="840334" y="2590800"/>
                </a:lnTo>
                <a:lnTo>
                  <a:pt x="863145" y="2552700"/>
                </a:lnTo>
                <a:lnTo>
                  <a:pt x="871514" y="2514600"/>
                </a:lnTo>
                <a:lnTo>
                  <a:pt x="871514" y="1143000"/>
                </a:lnTo>
                <a:lnTo>
                  <a:pt x="876150" y="1092200"/>
                </a:lnTo>
                <a:lnTo>
                  <a:pt x="889719" y="1054100"/>
                </a:lnTo>
                <a:lnTo>
                  <a:pt x="911713" y="1016000"/>
                </a:lnTo>
                <a:lnTo>
                  <a:pt x="941623" y="977900"/>
                </a:lnTo>
                <a:lnTo>
                  <a:pt x="978941" y="952500"/>
                </a:lnTo>
                <a:lnTo>
                  <a:pt x="1023158" y="927100"/>
                </a:lnTo>
                <a:lnTo>
                  <a:pt x="1288316" y="787400"/>
                </a:lnTo>
                <a:lnTo>
                  <a:pt x="1476405" y="787400"/>
                </a:lnTo>
                <a:lnTo>
                  <a:pt x="1086821" y="990600"/>
                </a:lnTo>
                <a:lnTo>
                  <a:pt x="1326819" y="1054100"/>
                </a:lnTo>
                <a:lnTo>
                  <a:pt x="1340684" y="1054100"/>
                </a:lnTo>
                <a:lnTo>
                  <a:pt x="1351550" y="1066800"/>
                </a:lnTo>
                <a:lnTo>
                  <a:pt x="988053" y="1066800"/>
                </a:lnTo>
                <a:lnTo>
                  <a:pt x="977121" y="1079500"/>
                </a:lnTo>
                <a:lnTo>
                  <a:pt x="968451" y="1092200"/>
                </a:lnTo>
                <a:lnTo>
                  <a:pt x="962738" y="1117600"/>
                </a:lnTo>
                <a:lnTo>
                  <a:pt x="960680" y="1143000"/>
                </a:lnTo>
                <a:lnTo>
                  <a:pt x="960680" y="2514600"/>
                </a:lnTo>
                <a:lnTo>
                  <a:pt x="955507" y="2552700"/>
                </a:lnTo>
                <a:lnTo>
                  <a:pt x="940779" y="2603500"/>
                </a:lnTo>
                <a:lnTo>
                  <a:pt x="933078" y="2616200"/>
                </a:lnTo>
                <a:close/>
              </a:path>
              <a:path w="2233294" h="2705100">
                <a:moveTo>
                  <a:pt x="2208879" y="1892300"/>
                </a:moveTo>
                <a:lnTo>
                  <a:pt x="2055919" y="1892300"/>
                </a:lnTo>
                <a:lnTo>
                  <a:pt x="2090481" y="1879600"/>
                </a:lnTo>
                <a:lnTo>
                  <a:pt x="2118276" y="1866900"/>
                </a:lnTo>
                <a:lnTo>
                  <a:pt x="2136795" y="1841500"/>
                </a:lnTo>
                <a:lnTo>
                  <a:pt x="2143525" y="1803400"/>
                </a:lnTo>
                <a:lnTo>
                  <a:pt x="2143525" y="1117600"/>
                </a:lnTo>
                <a:lnTo>
                  <a:pt x="2139933" y="1066800"/>
                </a:lnTo>
                <a:lnTo>
                  <a:pt x="2129498" y="1028700"/>
                </a:lnTo>
                <a:lnTo>
                  <a:pt x="2112738" y="977900"/>
                </a:lnTo>
                <a:lnTo>
                  <a:pt x="2090167" y="939800"/>
                </a:lnTo>
                <a:lnTo>
                  <a:pt x="2062300" y="901700"/>
                </a:lnTo>
                <a:lnTo>
                  <a:pt x="2029654" y="863600"/>
                </a:lnTo>
                <a:lnTo>
                  <a:pt x="1992744" y="838200"/>
                </a:lnTo>
                <a:lnTo>
                  <a:pt x="1952085" y="812800"/>
                </a:lnTo>
                <a:lnTo>
                  <a:pt x="1908193" y="800100"/>
                </a:lnTo>
                <a:lnTo>
                  <a:pt x="1861583" y="787400"/>
                </a:lnTo>
                <a:lnTo>
                  <a:pt x="2077752" y="787400"/>
                </a:lnTo>
                <a:lnTo>
                  <a:pt x="2111538" y="825500"/>
                </a:lnTo>
                <a:lnTo>
                  <a:pt x="2141824" y="863600"/>
                </a:lnTo>
                <a:lnTo>
                  <a:pt x="2168299" y="889000"/>
                </a:lnTo>
                <a:lnTo>
                  <a:pt x="2190655" y="939800"/>
                </a:lnTo>
                <a:lnTo>
                  <a:pt x="2208581" y="977900"/>
                </a:lnTo>
                <a:lnTo>
                  <a:pt x="2221769" y="1028700"/>
                </a:lnTo>
                <a:lnTo>
                  <a:pt x="2229909" y="1066800"/>
                </a:lnTo>
                <a:lnTo>
                  <a:pt x="2232691" y="1117600"/>
                </a:lnTo>
                <a:lnTo>
                  <a:pt x="2232691" y="1803400"/>
                </a:lnTo>
                <a:lnTo>
                  <a:pt x="2226459" y="1854200"/>
                </a:lnTo>
                <a:lnTo>
                  <a:pt x="2208879" y="1892300"/>
                </a:lnTo>
                <a:close/>
              </a:path>
              <a:path w="2233294" h="2705100">
                <a:moveTo>
                  <a:pt x="1514702" y="2705100"/>
                </a:moveTo>
                <a:lnTo>
                  <a:pt x="1422744" y="2705100"/>
                </a:lnTo>
                <a:lnTo>
                  <a:pt x="1381613" y="2692400"/>
                </a:lnTo>
                <a:lnTo>
                  <a:pt x="1345309" y="2667000"/>
                </a:lnTo>
                <a:lnTo>
                  <a:pt x="1315015" y="2641600"/>
                </a:lnTo>
                <a:lnTo>
                  <a:pt x="1291912" y="2603500"/>
                </a:lnTo>
                <a:lnTo>
                  <a:pt x="1277183" y="2552700"/>
                </a:lnTo>
                <a:lnTo>
                  <a:pt x="1272011" y="2514600"/>
                </a:lnTo>
                <a:lnTo>
                  <a:pt x="1272011" y="1130300"/>
                </a:lnTo>
                <a:lnTo>
                  <a:pt x="992729" y="1066800"/>
                </a:lnTo>
                <a:lnTo>
                  <a:pt x="1351550" y="1066800"/>
                </a:lnTo>
                <a:lnTo>
                  <a:pt x="1358640" y="1079500"/>
                </a:lnTo>
                <a:lnTo>
                  <a:pt x="1361176" y="1092200"/>
                </a:lnTo>
                <a:lnTo>
                  <a:pt x="1361176" y="2514600"/>
                </a:lnTo>
                <a:lnTo>
                  <a:pt x="1369546" y="2552700"/>
                </a:lnTo>
                <a:lnTo>
                  <a:pt x="1392357" y="2590800"/>
                </a:lnTo>
                <a:lnTo>
                  <a:pt x="1426164" y="2616200"/>
                </a:lnTo>
                <a:lnTo>
                  <a:pt x="1943330" y="2616200"/>
                </a:lnTo>
                <a:lnTo>
                  <a:pt x="1927929" y="2641600"/>
                </a:lnTo>
                <a:lnTo>
                  <a:pt x="1621471" y="2641600"/>
                </a:lnTo>
                <a:lnTo>
                  <a:pt x="1591286" y="2667000"/>
                </a:lnTo>
                <a:lnTo>
                  <a:pt x="1555318" y="2692400"/>
                </a:lnTo>
                <a:lnTo>
                  <a:pt x="1514702" y="2705100"/>
                </a:lnTo>
                <a:close/>
              </a:path>
              <a:path w="2233294" h="2705100">
                <a:moveTo>
                  <a:pt x="350894" y="1892300"/>
                </a:moveTo>
                <a:lnTo>
                  <a:pt x="174153" y="1892300"/>
                </a:lnTo>
                <a:lnTo>
                  <a:pt x="208715" y="1879600"/>
                </a:lnTo>
                <a:lnTo>
                  <a:pt x="236510" y="1866900"/>
                </a:lnTo>
                <a:lnTo>
                  <a:pt x="255029" y="1841500"/>
                </a:lnTo>
                <a:lnTo>
                  <a:pt x="261759" y="1803400"/>
                </a:lnTo>
                <a:lnTo>
                  <a:pt x="261759" y="1130300"/>
                </a:lnTo>
                <a:lnTo>
                  <a:pt x="265262" y="1117600"/>
                </a:lnTo>
                <a:lnTo>
                  <a:pt x="274815" y="1104900"/>
                </a:lnTo>
                <a:lnTo>
                  <a:pt x="288986" y="1092200"/>
                </a:lnTo>
                <a:lnTo>
                  <a:pt x="323694" y="1092200"/>
                </a:lnTo>
                <a:lnTo>
                  <a:pt x="337854" y="1104900"/>
                </a:lnTo>
                <a:lnTo>
                  <a:pt x="347396" y="1117600"/>
                </a:lnTo>
                <a:lnTo>
                  <a:pt x="350894" y="1130300"/>
                </a:lnTo>
                <a:lnTo>
                  <a:pt x="350894" y="1892300"/>
                </a:lnTo>
                <a:close/>
              </a:path>
              <a:path w="2233294" h="2705100">
                <a:moveTo>
                  <a:pt x="1943330" y="2616200"/>
                </a:moveTo>
                <a:lnTo>
                  <a:pt x="1816809" y="2616200"/>
                </a:lnTo>
                <a:lnTo>
                  <a:pt x="1850616" y="2590800"/>
                </a:lnTo>
                <a:lnTo>
                  <a:pt x="1873427" y="2552700"/>
                </a:lnTo>
                <a:lnTo>
                  <a:pt x="1881797" y="2514600"/>
                </a:lnTo>
                <a:lnTo>
                  <a:pt x="1881797" y="1130300"/>
                </a:lnTo>
                <a:lnTo>
                  <a:pt x="1885294" y="1117600"/>
                </a:lnTo>
                <a:lnTo>
                  <a:pt x="1894836" y="1104900"/>
                </a:lnTo>
                <a:lnTo>
                  <a:pt x="1908996" y="1092200"/>
                </a:lnTo>
                <a:lnTo>
                  <a:pt x="1943705" y="1092200"/>
                </a:lnTo>
                <a:lnTo>
                  <a:pt x="1957876" y="1104900"/>
                </a:lnTo>
                <a:lnTo>
                  <a:pt x="1967428" y="1117600"/>
                </a:lnTo>
                <a:lnTo>
                  <a:pt x="1970931" y="1130300"/>
                </a:lnTo>
                <a:lnTo>
                  <a:pt x="1970931" y="1803400"/>
                </a:lnTo>
                <a:lnTo>
                  <a:pt x="1977621" y="1841500"/>
                </a:lnTo>
                <a:lnTo>
                  <a:pt x="1995853" y="1866900"/>
                </a:lnTo>
                <a:lnTo>
                  <a:pt x="2022871" y="1879600"/>
                </a:lnTo>
                <a:lnTo>
                  <a:pt x="2055919" y="1892300"/>
                </a:lnTo>
                <a:lnTo>
                  <a:pt x="2208879" y="1892300"/>
                </a:lnTo>
                <a:lnTo>
                  <a:pt x="2181623" y="1930400"/>
                </a:lnTo>
                <a:lnTo>
                  <a:pt x="2146366" y="1955800"/>
                </a:lnTo>
                <a:lnTo>
                  <a:pt x="1970931" y="1955800"/>
                </a:lnTo>
                <a:lnTo>
                  <a:pt x="1970931" y="2514600"/>
                </a:lnTo>
                <a:lnTo>
                  <a:pt x="1965759" y="2552700"/>
                </a:lnTo>
                <a:lnTo>
                  <a:pt x="1951031" y="2603500"/>
                </a:lnTo>
                <a:lnTo>
                  <a:pt x="1943330" y="2616200"/>
                </a:lnTo>
                <a:close/>
              </a:path>
              <a:path w="2233294" h="2705100">
                <a:moveTo>
                  <a:pt x="720777" y="2616200"/>
                </a:moveTo>
                <a:lnTo>
                  <a:pt x="501649" y="2616200"/>
                </a:lnTo>
                <a:lnTo>
                  <a:pt x="535456" y="2590800"/>
                </a:lnTo>
                <a:lnTo>
                  <a:pt x="558267" y="2552700"/>
                </a:lnTo>
                <a:lnTo>
                  <a:pt x="566637" y="2514600"/>
                </a:lnTo>
                <a:lnTo>
                  <a:pt x="566637" y="1727200"/>
                </a:lnTo>
                <a:lnTo>
                  <a:pt x="570139" y="1714500"/>
                </a:lnTo>
                <a:lnTo>
                  <a:pt x="579692" y="1701800"/>
                </a:lnTo>
                <a:lnTo>
                  <a:pt x="593863" y="1689100"/>
                </a:lnTo>
                <a:lnTo>
                  <a:pt x="628576" y="1689100"/>
                </a:lnTo>
                <a:lnTo>
                  <a:pt x="642747" y="1701800"/>
                </a:lnTo>
                <a:lnTo>
                  <a:pt x="652300" y="1714500"/>
                </a:lnTo>
                <a:lnTo>
                  <a:pt x="655802" y="1727200"/>
                </a:lnTo>
                <a:lnTo>
                  <a:pt x="655802" y="2514600"/>
                </a:lnTo>
                <a:lnTo>
                  <a:pt x="664171" y="2552700"/>
                </a:lnTo>
                <a:lnTo>
                  <a:pt x="686979" y="2590800"/>
                </a:lnTo>
                <a:lnTo>
                  <a:pt x="720777" y="2616200"/>
                </a:lnTo>
                <a:close/>
              </a:path>
              <a:path w="2233294" h="2705100">
                <a:moveTo>
                  <a:pt x="1731041" y="2616200"/>
                </a:moveTo>
                <a:lnTo>
                  <a:pt x="1511914" y="2616200"/>
                </a:lnTo>
                <a:lnTo>
                  <a:pt x="1545711" y="2590800"/>
                </a:lnTo>
                <a:lnTo>
                  <a:pt x="1568519" y="2552700"/>
                </a:lnTo>
                <a:lnTo>
                  <a:pt x="1576888" y="2514600"/>
                </a:lnTo>
                <a:lnTo>
                  <a:pt x="1576888" y="1727200"/>
                </a:lnTo>
                <a:lnTo>
                  <a:pt x="1580391" y="1714500"/>
                </a:lnTo>
                <a:lnTo>
                  <a:pt x="1589943" y="1701800"/>
                </a:lnTo>
                <a:lnTo>
                  <a:pt x="1604114" y="1689100"/>
                </a:lnTo>
                <a:lnTo>
                  <a:pt x="1638828" y="1689100"/>
                </a:lnTo>
                <a:lnTo>
                  <a:pt x="1652998" y="1701800"/>
                </a:lnTo>
                <a:lnTo>
                  <a:pt x="1662551" y="1714500"/>
                </a:lnTo>
                <a:lnTo>
                  <a:pt x="1666054" y="1727200"/>
                </a:lnTo>
                <a:lnTo>
                  <a:pt x="1666054" y="2514600"/>
                </a:lnTo>
                <a:lnTo>
                  <a:pt x="1674423" y="2552700"/>
                </a:lnTo>
                <a:lnTo>
                  <a:pt x="1697234" y="2590800"/>
                </a:lnTo>
                <a:lnTo>
                  <a:pt x="1731041" y="2616200"/>
                </a:lnTo>
                <a:close/>
              </a:path>
              <a:path w="2233294" h="2705100">
                <a:moveTo>
                  <a:pt x="504437" y="2705100"/>
                </a:moveTo>
                <a:lnTo>
                  <a:pt x="412473" y="2705100"/>
                </a:lnTo>
                <a:lnTo>
                  <a:pt x="371351" y="2692400"/>
                </a:lnTo>
                <a:lnTo>
                  <a:pt x="335052" y="2667000"/>
                </a:lnTo>
                <a:lnTo>
                  <a:pt x="304761" y="2641600"/>
                </a:lnTo>
                <a:lnTo>
                  <a:pt x="281660" y="2603500"/>
                </a:lnTo>
                <a:lnTo>
                  <a:pt x="266932" y="2552700"/>
                </a:lnTo>
                <a:lnTo>
                  <a:pt x="261759" y="2514600"/>
                </a:lnTo>
                <a:lnTo>
                  <a:pt x="261759" y="1955800"/>
                </a:lnTo>
                <a:lnTo>
                  <a:pt x="350894" y="1955800"/>
                </a:lnTo>
                <a:lnTo>
                  <a:pt x="350894" y="2514600"/>
                </a:lnTo>
                <a:lnTo>
                  <a:pt x="359263" y="2552700"/>
                </a:lnTo>
                <a:lnTo>
                  <a:pt x="382074" y="2590800"/>
                </a:lnTo>
                <a:lnTo>
                  <a:pt x="415881" y="2616200"/>
                </a:lnTo>
                <a:lnTo>
                  <a:pt x="933078" y="2616200"/>
                </a:lnTo>
                <a:lnTo>
                  <a:pt x="917676" y="2641600"/>
                </a:lnTo>
                <a:lnTo>
                  <a:pt x="611220" y="2641600"/>
                </a:lnTo>
                <a:lnTo>
                  <a:pt x="581035" y="2667000"/>
                </a:lnTo>
                <a:lnTo>
                  <a:pt x="545063" y="2692400"/>
                </a:lnTo>
                <a:lnTo>
                  <a:pt x="504437" y="2705100"/>
                </a:lnTo>
                <a:close/>
              </a:path>
              <a:path w="2233294" h="2705100">
                <a:moveTo>
                  <a:pt x="2058538" y="1981200"/>
                </a:moveTo>
                <a:lnTo>
                  <a:pt x="2034963" y="1981200"/>
                </a:lnTo>
                <a:lnTo>
                  <a:pt x="2012384" y="1968500"/>
                </a:lnTo>
                <a:lnTo>
                  <a:pt x="1990981" y="1968500"/>
                </a:lnTo>
                <a:lnTo>
                  <a:pt x="1970931" y="1955800"/>
                </a:lnTo>
                <a:lnTo>
                  <a:pt x="2146366" y="1955800"/>
                </a:lnTo>
                <a:lnTo>
                  <a:pt x="2104780" y="1968500"/>
                </a:lnTo>
                <a:lnTo>
                  <a:pt x="2058538" y="1981200"/>
                </a:lnTo>
                <a:close/>
              </a:path>
              <a:path w="2233294" h="2705100">
                <a:moveTo>
                  <a:pt x="809946" y="2705100"/>
                </a:moveTo>
                <a:lnTo>
                  <a:pt x="717989" y="2705100"/>
                </a:lnTo>
                <a:lnTo>
                  <a:pt x="677373" y="2692400"/>
                </a:lnTo>
                <a:lnTo>
                  <a:pt x="641404" y="2667000"/>
                </a:lnTo>
                <a:lnTo>
                  <a:pt x="611220" y="2641600"/>
                </a:lnTo>
                <a:lnTo>
                  <a:pt x="917676" y="2641600"/>
                </a:lnTo>
                <a:lnTo>
                  <a:pt x="887381" y="2667000"/>
                </a:lnTo>
                <a:lnTo>
                  <a:pt x="851077" y="2692400"/>
                </a:lnTo>
                <a:lnTo>
                  <a:pt x="809946" y="2705100"/>
                </a:lnTo>
                <a:close/>
              </a:path>
              <a:path w="2233294" h="2705100">
                <a:moveTo>
                  <a:pt x="1820217" y="2705100"/>
                </a:moveTo>
                <a:lnTo>
                  <a:pt x="1728253" y="2705100"/>
                </a:lnTo>
                <a:lnTo>
                  <a:pt x="1687628" y="2692400"/>
                </a:lnTo>
                <a:lnTo>
                  <a:pt x="1651656" y="2667000"/>
                </a:lnTo>
                <a:lnTo>
                  <a:pt x="1621471" y="2641600"/>
                </a:lnTo>
                <a:lnTo>
                  <a:pt x="1927929" y="2641600"/>
                </a:lnTo>
                <a:lnTo>
                  <a:pt x="1897638" y="2667000"/>
                </a:lnTo>
                <a:lnTo>
                  <a:pt x="1861340" y="2692400"/>
                </a:lnTo>
                <a:lnTo>
                  <a:pt x="1820217" y="2705100"/>
                </a:lnTo>
                <a:close/>
              </a:path>
            </a:pathLst>
          </a:custGeom>
          <a:solidFill>
            <a:srgbClr val="F5F5F5"/>
          </a:solidFill>
        </p:spPr>
        <p:txBody>
          <a:bodyPr wrap="square" lIns="0" tIns="0" rIns="0" bIns="0" rtlCol="0"/>
          <a:lstStyle/>
          <a:p>
            <a:pPr defTabSz="609630"/>
            <a:endParaRPr sz="1200" kern="0">
              <a:solidFill>
                <a:sysClr val="windowText" lastClr="000000"/>
              </a:solidFill>
            </a:endParaRPr>
          </a:p>
        </p:txBody>
      </p:sp>
      <p:sp>
        <p:nvSpPr>
          <p:cNvPr id="14" name="object 14"/>
          <p:cNvSpPr/>
          <p:nvPr/>
        </p:nvSpPr>
        <p:spPr>
          <a:xfrm>
            <a:off x="7064722" y="355853"/>
            <a:ext cx="1719580" cy="1729740"/>
          </a:xfrm>
          <a:custGeom>
            <a:avLst/>
            <a:gdLst/>
            <a:ahLst/>
            <a:cxnLst/>
            <a:rect l="l" t="t" r="r" b="b"/>
            <a:pathLst>
              <a:path w="2579369" h="2594610">
                <a:moveTo>
                  <a:pt x="1207731" y="2526055"/>
                </a:moveTo>
                <a:lnTo>
                  <a:pt x="1196682" y="2228151"/>
                </a:lnTo>
                <a:lnTo>
                  <a:pt x="1192606" y="2164575"/>
                </a:lnTo>
                <a:lnTo>
                  <a:pt x="1185494" y="2102167"/>
                </a:lnTo>
                <a:lnTo>
                  <a:pt x="1175791" y="2041601"/>
                </a:lnTo>
                <a:lnTo>
                  <a:pt x="1163929" y="1983549"/>
                </a:lnTo>
                <a:lnTo>
                  <a:pt x="1150315" y="1928660"/>
                </a:lnTo>
                <a:lnTo>
                  <a:pt x="1135380" y="1877631"/>
                </a:lnTo>
                <a:lnTo>
                  <a:pt x="1119568" y="1831124"/>
                </a:lnTo>
                <a:lnTo>
                  <a:pt x="1103299" y="1789811"/>
                </a:lnTo>
                <a:lnTo>
                  <a:pt x="1087005" y="1754352"/>
                </a:lnTo>
                <a:lnTo>
                  <a:pt x="1049248" y="1691386"/>
                </a:lnTo>
                <a:lnTo>
                  <a:pt x="1023912" y="1655203"/>
                </a:lnTo>
                <a:lnTo>
                  <a:pt x="995603" y="1617395"/>
                </a:lnTo>
                <a:lnTo>
                  <a:pt x="932218" y="1539011"/>
                </a:lnTo>
                <a:lnTo>
                  <a:pt x="792327" y="1380490"/>
                </a:lnTo>
                <a:lnTo>
                  <a:pt x="757859" y="1340205"/>
                </a:lnTo>
                <a:lnTo>
                  <a:pt x="724992" y="1299908"/>
                </a:lnTo>
                <a:lnTo>
                  <a:pt x="694397" y="1259763"/>
                </a:lnTo>
                <a:lnTo>
                  <a:pt x="666762" y="1219936"/>
                </a:lnTo>
                <a:lnTo>
                  <a:pt x="634695" y="1188796"/>
                </a:lnTo>
                <a:lnTo>
                  <a:pt x="595261" y="1175550"/>
                </a:lnTo>
                <a:lnTo>
                  <a:pt x="553275" y="1177658"/>
                </a:lnTo>
                <a:lnTo>
                  <a:pt x="513549" y="1192517"/>
                </a:lnTo>
                <a:lnTo>
                  <a:pt x="485571" y="1213967"/>
                </a:lnTo>
                <a:lnTo>
                  <a:pt x="463080" y="1242593"/>
                </a:lnTo>
                <a:lnTo>
                  <a:pt x="448462" y="1278305"/>
                </a:lnTo>
                <a:lnTo>
                  <a:pt x="444055" y="1321079"/>
                </a:lnTo>
                <a:lnTo>
                  <a:pt x="452221" y="1370838"/>
                </a:lnTo>
                <a:lnTo>
                  <a:pt x="475310" y="1427518"/>
                </a:lnTo>
                <a:lnTo>
                  <a:pt x="495236" y="1461871"/>
                </a:lnTo>
                <a:lnTo>
                  <a:pt x="521360" y="1498942"/>
                </a:lnTo>
                <a:lnTo>
                  <a:pt x="552627" y="1538287"/>
                </a:lnTo>
                <a:lnTo>
                  <a:pt x="587997" y="1579435"/>
                </a:lnTo>
                <a:lnTo>
                  <a:pt x="677595" y="1676120"/>
                </a:lnTo>
                <a:lnTo>
                  <a:pt x="690600" y="1699666"/>
                </a:lnTo>
                <a:lnTo>
                  <a:pt x="672058" y="1749844"/>
                </a:lnTo>
                <a:lnTo>
                  <a:pt x="640956" y="1756092"/>
                </a:lnTo>
                <a:lnTo>
                  <a:pt x="625538" y="1751495"/>
                </a:lnTo>
                <a:lnTo>
                  <a:pt x="492836" y="1611096"/>
                </a:lnTo>
                <a:lnTo>
                  <a:pt x="462127" y="1574673"/>
                </a:lnTo>
                <a:lnTo>
                  <a:pt x="434289" y="1539494"/>
                </a:lnTo>
                <a:lnTo>
                  <a:pt x="399821" y="1487754"/>
                </a:lnTo>
                <a:lnTo>
                  <a:pt x="367944" y="1416926"/>
                </a:lnTo>
                <a:lnTo>
                  <a:pt x="354863" y="1365427"/>
                </a:lnTo>
                <a:lnTo>
                  <a:pt x="350723" y="1317053"/>
                </a:lnTo>
                <a:lnTo>
                  <a:pt x="354723" y="1272082"/>
                </a:lnTo>
                <a:lnTo>
                  <a:pt x="366102" y="1230769"/>
                </a:lnTo>
                <a:lnTo>
                  <a:pt x="317271" y="1123556"/>
                </a:lnTo>
                <a:lnTo>
                  <a:pt x="296811" y="1074877"/>
                </a:lnTo>
                <a:lnTo>
                  <a:pt x="280035" y="1031049"/>
                </a:lnTo>
                <a:lnTo>
                  <a:pt x="267716" y="993228"/>
                </a:lnTo>
                <a:lnTo>
                  <a:pt x="249605" y="953516"/>
                </a:lnTo>
                <a:lnTo>
                  <a:pt x="224790" y="923658"/>
                </a:lnTo>
                <a:lnTo>
                  <a:pt x="195059" y="903325"/>
                </a:lnTo>
                <a:lnTo>
                  <a:pt x="162267" y="892187"/>
                </a:lnTo>
                <a:lnTo>
                  <a:pt x="128219" y="889939"/>
                </a:lnTo>
                <a:lnTo>
                  <a:pt x="94767" y="896264"/>
                </a:lnTo>
                <a:lnTo>
                  <a:pt x="36868" y="933297"/>
                </a:lnTo>
                <a:lnTo>
                  <a:pt x="3200" y="1000747"/>
                </a:lnTo>
                <a:lnTo>
                  <a:pt x="0" y="1045070"/>
                </a:lnTo>
                <a:lnTo>
                  <a:pt x="7581" y="1150467"/>
                </a:lnTo>
                <a:lnTo>
                  <a:pt x="17272" y="1243939"/>
                </a:lnTo>
                <a:lnTo>
                  <a:pt x="31051" y="1350276"/>
                </a:lnTo>
                <a:lnTo>
                  <a:pt x="49250" y="1464602"/>
                </a:lnTo>
                <a:lnTo>
                  <a:pt x="72186" y="1582013"/>
                </a:lnTo>
                <a:lnTo>
                  <a:pt x="85547" y="1640357"/>
                </a:lnTo>
                <a:lnTo>
                  <a:pt x="100215" y="1697647"/>
                </a:lnTo>
                <a:lnTo>
                  <a:pt x="116230" y="1753273"/>
                </a:lnTo>
                <a:lnTo>
                  <a:pt x="133642" y="1806613"/>
                </a:lnTo>
                <a:lnTo>
                  <a:pt x="152488" y="1857070"/>
                </a:lnTo>
                <a:lnTo>
                  <a:pt x="172821" y="1904022"/>
                </a:lnTo>
                <a:lnTo>
                  <a:pt x="194665" y="1946871"/>
                </a:lnTo>
                <a:lnTo>
                  <a:pt x="218059" y="1984997"/>
                </a:lnTo>
                <a:lnTo>
                  <a:pt x="243065" y="2017801"/>
                </a:lnTo>
                <a:lnTo>
                  <a:pt x="268681" y="2046503"/>
                </a:lnTo>
                <a:lnTo>
                  <a:pt x="297726" y="2076729"/>
                </a:lnTo>
                <a:lnTo>
                  <a:pt x="329895" y="2108174"/>
                </a:lnTo>
                <a:lnTo>
                  <a:pt x="364858" y="2140534"/>
                </a:lnTo>
                <a:lnTo>
                  <a:pt x="441807" y="2206828"/>
                </a:lnTo>
                <a:lnTo>
                  <a:pt x="525970" y="2273223"/>
                </a:lnTo>
                <a:lnTo>
                  <a:pt x="614692" y="2337358"/>
                </a:lnTo>
                <a:lnTo>
                  <a:pt x="631075" y="2351621"/>
                </a:lnTo>
                <a:lnTo>
                  <a:pt x="643064" y="2368893"/>
                </a:lnTo>
                <a:lnTo>
                  <a:pt x="650430" y="2388197"/>
                </a:lnTo>
                <a:lnTo>
                  <a:pt x="652945" y="2408555"/>
                </a:lnTo>
                <a:lnTo>
                  <a:pt x="652945" y="2528582"/>
                </a:lnTo>
                <a:lnTo>
                  <a:pt x="658215" y="2553817"/>
                </a:lnTo>
                <a:lnTo>
                  <a:pt x="672465" y="2574721"/>
                </a:lnTo>
                <a:lnTo>
                  <a:pt x="693381" y="2588984"/>
                </a:lnTo>
                <a:lnTo>
                  <a:pt x="718604" y="2594254"/>
                </a:lnTo>
                <a:lnTo>
                  <a:pt x="1142072" y="2594254"/>
                </a:lnTo>
                <a:lnTo>
                  <a:pt x="1168463" y="2588945"/>
                </a:lnTo>
                <a:lnTo>
                  <a:pt x="1189253" y="2574404"/>
                </a:lnTo>
                <a:lnTo>
                  <a:pt x="1202855" y="2552750"/>
                </a:lnTo>
                <a:lnTo>
                  <a:pt x="1207731" y="2526055"/>
                </a:lnTo>
                <a:close/>
              </a:path>
              <a:path w="2579369" h="2594610">
                <a:moveTo>
                  <a:pt x="1966544" y="722744"/>
                </a:moveTo>
                <a:lnTo>
                  <a:pt x="1957819" y="677532"/>
                </a:lnTo>
                <a:lnTo>
                  <a:pt x="1931644" y="637959"/>
                </a:lnTo>
                <a:lnTo>
                  <a:pt x="1475460" y="181762"/>
                </a:lnTo>
                <a:lnTo>
                  <a:pt x="1435874" y="155587"/>
                </a:lnTo>
                <a:lnTo>
                  <a:pt x="1390700" y="146862"/>
                </a:lnTo>
                <a:lnTo>
                  <a:pt x="1345565" y="155587"/>
                </a:lnTo>
                <a:lnTo>
                  <a:pt x="1306118" y="181762"/>
                </a:lnTo>
                <a:lnTo>
                  <a:pt x="1279931" y="221221"/>
                </a:lnTo>
                <a:lnTo>
                  <a:pt x="1271206" y="266357"/>
                </a:lnTo>
                <a:lnTo>
                  <a:pt x="1279931" y="311531"/>
                </a:lnTo>
                <a:lnTo>
                  <a:pt x="1306118" y="351104"/>
                </a:lnTo>
                <a:lnTo>
                  <a:pt x="1499882" y="545109"/>
                </a:lnTo>
                <a:lnTo>
                  <a:pt x="1278699" y="766508"/>
                </a:lnTo>
                <a:lnTo>
                  <a:pt x="1213040" y="637959"/>
                </a:lnTo>
                <a:lnTo>
                  <a:pt x="1177582" y="594956"/>
                </a:lnTo>
                <a:lnTo>
                  <a:pt x="1125715" y="572516"/>
                </a:lnTo>
                <a:lnTo>
                  <a:pt x="1097203" y="571449"/>
                </a:lnTo>
                <a:lnTo>
                  <a:pt x="1069695" y="576529"/>
                </a:lnTo>
                <a:lnTo>
                  <a:pt x="1021803" y="605231"/>
                </a:lnTo>
                <a:lnTo>
                  <a:pt x="748550" y="884021"/>
                </a:lnTo>
                <a:lnTo>
                  <a:pt x="722503" y="923467"/>
                </a:lnTo>
                <a:lnTo>
                  <a:pt x="713828" y="968603"/>
                </a:lnTo>
                <a:lnTo>
                  <a:pt x="722503" y="1013777"/>
                </a:lnTo>
                <a:lnTo>
                  <a:pt x="748550" y="1053363"/>
                </a:lnTo>
                <a:lnTo>
                  <a:pt x="788136" y="1079411"/>
                </a:lnTo>
                <a:lnTo>
                  <a:pt x="833335" y="1088085"/>
                </a:lnTo>
                <a:lnTo>
                  <a:pt x="878547" y="1079411"/>
                </a:lnTo>
                <a:lnTo>
                  <a:pt x="918133" y="1053363"/>
                </a:lnTo>
                <a:lnTo>
                  <a:pt x="1076413" y="894842"/>
                </a:lnTo>
                <a:lnTo>
                  <a:pt x="1213040" y="1165326"/>
                </a:lnTo>
                <a:lnTo>
                  <a:pt x="1250188" y="1204468"/>
                </a:lnTo>
                <a:lnTo>
                  <a:pt x="1287195" y="1230934"/>
                </a:lnTo>
                <a:lnTo>
                  <a:pt x="1328826" y="1249197"/>
                </a:lnTo>
                <a:lnTo>
                  <a:pt x="1374317" y="1258176"/>
                </a:lnTo>
                <a:lnTo>
                  <a:pt x="1420749" y="1257274"/>
                </a:lnTo>
                <a:lnTo>
                  <a:pt x="1464856" y="1246606"/>
                </a:lnTo>
                <a:lnTo>
                  <a:pt x="1505331" y="1226693"/>
                </a:lnTo>
                <a:lnTo>
                  <a:pt x="1540891" y="1198041"/>
                </a:lnTo>
                <a:lnTo>
                  <a:pt x="1931644" y="807529"/>
                </a:lnTo>
                <a:lnTo>
                  <a:pt x="1957819" y="767943"/>
                </a:lnTo>
                <a:lnTo>
                  <a:pt x="1966544" y="722744"/>
                </a:lnTo>
                <a:close/>
              </a:path>
              <a:path w="2579369" h="2594610">
                <a:moveTo>
                  <a:pt x="2301646" y="236486"/>
                </a:moveTo>
                <a:lnTo>
                  <a:pt x="2294128" y="192773"/>
                </a:lnTo>
                <a:lnTo>
                  <a:pt x="2279116" y="150609"/>
                </a:lnTo>
                <a:lnTo>
                  <a:pt x="2256586" y="111048"/>
                </a:lnTo>
                <a:lnTo>
                  <a:pt x="2226551" y="75095"/>
                </a:lnTo>
                <a:lnTo>
                  <a:pt x="2190597" y="45059"/>
                </a:lnTo>
                <a:lnTo>
                  <a:pt x="2151024" y="22529"/>
                </a:lnTo>
                <a:lnTo>
                  <a:pt x="2108873" y="7505"/>
                </a:lnTo>
                <a:lnTo>
                  <a:pt x="2065159" y="0"/>
                </a:lnTo>
                <a:lnTo>
                  <a:pt x="2020925" y="0"/>
                </a:lnTo>
                <a:lnTo>
                  <a:pt x="1977212" y="7505"/>
                </a:lnTo>
                <a:lnTo>
                  <a:pt x="1935048" y="22529"/>
                </a:lnTo>
                <a:lnTo>
                  <a:pt x="1895475" y="45059"/>
                </a:lnTo>
                <a:lnTo>
                  <a:pt x="1859534" y="75095"/>
                </a:lnTo>
                <a:lnTo>
                  <a:pt x="1829485" y="111048"/>
                </a:lnTo>
                <a:lnTo>
                  <a:pt x="1806968" y="150609"/>
                </a:lnTo>
                <a:lnTo>
                  <a:pt x="1791944" y="192773"/>
                </a:lnTo>
                <a:lnTo>
                  <a:pt x="1784438" y="236486"/>
                </a:lnTo>
                <a:lnTo>
                  <a:pt x="1784438" y="280720"/>
                </a:lnTo>
                <a:lnTo>
                  <a:pt x="1791944" y="324434"/>
                </a:lnTo>
                <a:lnTo>
                  <a:pt x="1806968" y="366598"/>
                </a:lnTo>
                <a:lnTo>
                  <a:pt x="1829485" y="406171"/>
                </a:lnTo>
                <a:lnTo>
                  <a:pt x="1859534" y="442112"/>
                </a:lnTo>
                <a:lnTo>
                  <a:pt x="1895475" y="472147"/>
                </a:lnTo>
                <a:lnTo>
                  <a:pt x="1935048" y="494677"/>
                </a:lnTo>
                <a:lnTo>
                  <a:pt x="1977212" y="509701"/>
                </a:lnTo>
                <a:lnTo>
                  <a:pt x="2020925" y="517207"/>
                </a:lnTo>
                <a:lnTo>
                  <a:pt x="2065159" y="517207"/>
                </a:lnTo>
                <a:lnTo>
                  <a:pt x="2108873" y="509701"/>
                </a:lnTo>
                <a:lnTo>
                  <a:pt x="2151024" y="494677"/>
                </a:lnTo>
                <a:lnTo>
                  <a:pt x="2190597" y="472147"/>
                </a:lnTo>
                <a:lnTo>
                  <a:pt x="2226551" y="442112"/>
                </a:lnTo>
                <a:lnTo>
                  <a:pt x="2256586" y="406171"/>
                </a:lnTo>
                <a:lnTo>
                  <a:pt x="2279116" y="366598"/>
                </a:lnTo>
                <a:lnTo>
                  <a:pt x="2294128" y="324434"/>
                </a:lnTo>
                <a:lnTo>
                  <a:pt x="2301646" y="280720"/>
                </a:lnTo>
                <a:lnTo>
                  <a:pt x="2301646" y="236486"/>
                </a:lnTo>
                <a:close/>
              </a:path>
              <a:path w="2579369" h="2594610">
                <a:moveTo>
                  <a:pt x="2579281" y="1045070"/>
                </a:moveTo>
                <a:lnTo>
                  <a:pt x="2576042" y="999998"/>
                </a:lnTo>
                <a:lnTo>
                  <a:pt x="2563101" y="961910"/>
                </a:lnTo>
                <a:lnTo>
                  <a:pt x="2515463" y="908075"/>
                </a:lnTo>
                <a:lnTo>
                  <a:pt x="2450947" y="886320"/>
                </a:lnTo>
                <a:lnTo>
                  <a:pt x="2416899" y="888339"/>
                </a:lnTo>
                <a:lnTo>
                  <a:pt x="2354351" y="919899"/>
                </a:lnTo>
                <a:lnTo>
                  <a:pt x="2329497" y="950125"/>
                </a:lnTo>
                <a:lnTo>
                  <a:pt x="2311336" y="990460"/>
                </a:lnTo>
                <a:lnTo>
                  <a:pt x="2297963" y="1028306"/>
                </a:lnTo>
                <a:lnTo>
                  <a:pt x="2261044" y="1120940"/>
                </a:lnTo>
                <a:lnTo>
                  <a:pt x="2213191" y="1228229"/>
                </a:lnTo>
                <a:lnTo>
                  <a:pt x="2224709" y="1269428"/>
                </a:lnTo>
                <a:lnTo>
                  <a:pt x="2229193" y="1314348"/>
                </a:lnTo>
                <a:lnTo>
                  <a:pt x="2225446" y="1362684"/>
                </a:lnTo>
                <a:lnTo>
                  <a:pt x="2212289" y="1414170"/>
                </a:lnTo>
                <a:lnTo>
                  <a:pt x="2188540" y="1468539"/>
                </a:lnTo>
                <a:lnTo>
                  <a:pt x="2169668" y="1501711"/>
                </a:lnTo>
                <a:lnTo>
                  <a:pt x="2144763" y="1536966"/>
                </a:lnTo>
                <a:lnTo>
                  <a:pt x="2118258" y="1572018"/>
                </a:lnTo>
                <a:lnTo>
                  <a:pt x="2088210" y="1608378"/>
                </a:lnTo>
                <a:lnTo>
                  <a:pt x="2019058" y="1685061"/>
                </a:lnTo>
                <a:lnTo>
                  <a:pt x="1967128" y="1739252"/>
                </a:lnTo>
                <a:lnTo>
                  <a:pt x="1938096" y="1754517"/>
                </a:lnTo>
                <a:lnTo>
                  <a:pt x="1922157" y="1754085"/>
                </a:lnTo>
                <a:lnTo>
                  <a:pt x="1906993" y="1747316"/>
                </a:lnTo>
                <a:lnTo>
                  <a:pt x="1892731" y="1732407"/>
                </a:lnTo>
                <a:lnTo>
                  <a:pt x="1886623" y="1714131"/>
                </a:lnTo>
                <a:lnTo>
                  <a:pt x="1888680" y="1695348"/>
                </a:lnTo>
                <a:lnTo>
                  <a:pt x="1898929" y="1678889"/>
                </a:lnTo>
                <a:lnTo>
                  <a:pt x="1909749" y="1668056"/>
                </a:lnTo>
                <a:lnTo>
                  <a:pt x="1912518" y="1662531"/>
                </a:lnTo>
                <a:lnTo>
                  <a:pt x="1991283" y="1575435"/>
                </a:lnTo>
                <a:lnTo>
                  <a:pt x="2026627" y="1534490"/>
                </a:lnTo>
                <a:lnTo>
                  <a:pt x="2057857" y="1495564"/>
                </a:lnTo>
                <a:lnTo>
                  <a:pt x="2083917" y="1458912"/>
                </a:lnTo>
                <a:lnTo>
                  <a:pt x="2103755" y="1424762"/>
                </a:lnTo>
                <a:lnTo>
                  <a:pt x="2125776" y="1368145"/>
                </a:lnTo>
                <a:lnTo>
                  <a:pt x="2133308" y="1318425"/>
                </a:lnTo>
                <a:lnTo>
                  <a:pt x="2128685" y="1275664"/>
                </a:lnTo>
                <a:lnTo>
                  <a:pt x="2114283" y="1239951"/>
                </a:lnTo>
                <a:lnTo>
                  <a:pt x="2065502" y="1189990"/>
                </a:lnTo>
                <a:lnTo>
                  <a:pt x="2026272" y="1174991"/>
                </a:lnTo>
                <a:lnTo>
                  <a:pt x="1984946" y="1172819"/>
                </a:lnTo>
                <a:lnTo>
                  <a:pt x="1945652" y="1186027"/>
                </a:lnTo>
                <a:lnTo>
                  <a:pt x="1912518" y="1217168"/>
                </a:lnTo>
                <a:lnTo>
                  <a:pt x="1884870" y="1257007"/>
                </a:lnTo>
                <a:lnTo>
                  <a:pt x="1854238" y="1297139"/>
                </a:lnTo>
                <a:lnTo>
                  <a:pt x="1821307" y="1337437"/>
                </a:lnTo>
                <a:lnTo>
                  <a:pt x="1646872" y="1536242"/>
                </a:lnTo>
                <a:lnTo>
                  <a:pt x="1583588" y="1614627"/>
                </a:lnTo>
                <a:lnTo>
                  <a:pt x="1555330" y="1652435"/>
                </a:lnTo>
                <a:lnTo>
                  <a:pt x="1530019" y="1688630"/>
                </a:lnTo>
                <a:lnTo>
                  <a:pt x="1508175" y="1722666"/>
                </a:lnTo>
                <a:lnTo>
                  <a:pt x="1475955" y="1787067"/>
                </a:lnTo>
                <a:lnTo>
                  <a:pt x="1459636" y="1828431"/>
                </a:lnTo>
                <a:lnTo>
                  <a:pt x="1443723" y="1875040"/>
                </a:lnTo>
                <a:lnTo>
                  <a:pt x="1428623" y="1926247"/>
                </a:lnTo>
                <a:lnTo>
                  <a:pt x="1414767" y="1981377"/>
                </a:lnTo>
                <a:lnTo>
                  <a:pt x="1402537" y="2039785"/>
                </a:lnTo>
                <a:lnTo>
                  <a:pt x="1392364" y="2100821"/>
                </a:lnTo>
                <a:lnTo>
                  <a:pt x="1384668" y="2163826"/>
                </a:lnTo>
                <a:lnTo>
                  <a:pt x="1379842" y="2228151"/>
                </a:lnTo>
                <a:lnTo>
                  <a:pt x="1371549" y="2526055"/>
                </a:lnTo>
                <a:lnTo>
                  <a:pt x="1376781" y="2551684"/>
                </a:lnTo>
                <a:lnTo>
                  <a:pt x="1390992" y="2573451"/>
                </a:lnTo>
                <a:lnTo>
                  <a:pt x="1411884" y="2588590"/>
                </a:lnTo>
                <a:lnTo>
                  <a:pt x="1437208" y="2594254"/>
                </a:lnTo>
                <a:lnTo>
                  <a:pt x="1860677" y="2594254"/>
                </a:lnTo>
                <a:lnTo>
                  <a:pt x="1885873" y="2588984"/>
                </a:lnTo>
                <a:lnTo>
                  <a:pt x="1906701" y="2574721"/>
                </a:lnTo>
                <a:lnTo>
                  <a:pt x="1920875" y="2553817"/>
                </a:lnTo>
                <a:lnTo>
                  <a:pt x="1926107" y="2528582"/>
                </a:lnTo>
                <a:lnTo>
                  <a:pt x="1926107" y="2408555"/>
                </a:lnTo>
                <a:lnTo>
                  <a:pt x="1928660" y="2388197"/>
                </a:lnTo>
                <a:lnTo>
                  <a:pt x="1936076" y="2368893"/>
                </a:lnTo>
                <a:lnTo>
                  <a:pt x="1948078" y="2351621"/>
                </a:lnTo>
                <a:lnTo>
                  <a:pt x="1964359" y="2337358"/>
                </a:lnTo>
                <a:lnTo>
                  <a:pt x="2009178" y="2305647"/>
                </a:lnTo>
                <a:lnTo>
                  <a:pt x="2053170" y="2272957"/>
                </a:lnTo>
                <a:lnTo>
                  <a:pt x="2137346" y="2206028"/>
                </a:lnTo>
                <a:lnTo>
                  <a:pt x="2214270" y="2139340"/>
                </a:lnTo>
                <a:lnTo>
                  <a:pt x="2281351" y="2075675"/>
                </a:lnTo>
                <a:lnTo>
                  <a:pt x="2310384" y="2045843"/>
                </a:lnTo>
                <a:lnTo>
                  <a:pt x="2360993" y="1984629"/>
                </a:lnTo>
                <a:lnTo>
                  <a:pt x="2384399" y="1946198"/>
                </a:lnTo>
                <a:lnTo>
                  <a:pt x="2406243" y="1903133"/>
                </a:lnTo>
                <a:lnTo>
                  <a:pt x="2426589" y="1856003"/>
                </a:lnTo>
                <a:lnTo>
                  <a:pt x="2445448" y="1805444"/>
                </a:lnTo>
                <a:lnTo>
                  <a:pt x="2462873" y="1752053"/>
                </a:lnTo>
                <a:lnTo>
                  <a:pt x="2478913" y="1696427"/>
                </a:lnTo>
                <a:lnTo>
                  <a:pt x="2493594" y="1639163"/>
                </a:lnTo>
                <a:lnTo>
                  <a:pt x="2506967" y="1580883"/>
                </a:lnTo>
                <a:lnTo>
                  <a:pt x="2529941" y="1463675"/>
                </a:lnTo>
                <a:lnTo>
                  <a:pt x="2548166" y="1349616"/>
                </a:lnTo>
                <a:lnTo>
                  <a:pt x="2561971" y="1243545"/>
                </a:lnTo>
                <a:lnTo>
                  <a:pt x="2575102" y="1110005"/>
                </a:lnTo>
                <a:lnTo>
                  <a:pt x="2579281" y="1045070"/>
                </a:lnTo>
                <a:close/>
              </a:path>
            </a:pathLst>
          </a:custGeom>
          <a:solidFill>
            <a:srgbClr val="F5F5F5"/>
          </a:solidFill>
        </p:spPr>
        <p:txBody>
          <a:bodyPr wrap="square" lIns="0" tIns="0" rIns="0" bIns="0" rtlCol="0"/>
          <a:lstStyle/>
          <a:p>
            <a:pPr defTabSz="609630"/>
            <a:endParaRPr sz="1200" kern="0">
              <a:solidFill>
                <a:sysClr val="windowText" lastClr="000000"/>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5624407" cy="4851400"/>
            <a:chOff x="0" y="0"/>
            <a:chExt cx="8436610" cy="7277100"/>
          </a:xfrm>
        </p:grpSpPr>
        <p:pic>
          <p:nvPicPr>
            <p:cNvPr id="3" name="object 3"/>
            <p:cNvPicPr/>
            <p:nvPr/>
          </p:nvPicPr>
          <p:blipFill>
            <a:blip r:embed="rId2" cstate="print"/>
            <a:stretch>
              <a:fillRect/>
            </a:stretch>
          </p:blipFill>
          <p:spPr>
            <a:xfrm>
              <a:off x="0" y="0"/>
              <a:ext cx="8436522" cy="7277099"/>
            </a:xfrm>
            <a:prstGeom prst="rect">
              <a:avLst/>
            </a:prstGeom>
          </p:spPr>
        </p:pic>
        <p:sp>
          <p:nvSpPr>
            <p:cNvPr id="4" name="object 4"/>
            <p:cNvSpPr/>
            <p:nvPr/>
          </p:nvSpPr>
          <p:spPr>
            <a:xfrm>
              <a:off x="5788497" y="3944895"/>
              <a:ext cx="2353310" cy="2353310"/>
            </a:xfrm>
            <a:custGeom>
              <a:avLst/>
              <a:gdLst/>
              <a:ahLst/>
              <a:cxnLst/>
              <a:rect l="l" t="t" r="r" b="b"/>
              <a:pathLst>
                <a:path w="2353309" h="2353310">
                  <a:moveTo>
                    <a:pt x="1176517" y="2353034"/>
                  </a:moveTo>
                  <a:lnTo>
                    <a:pt x="1128021" y="2352052"/>
                  </a:lnTo>
                  <a:lnTo>
                    <a:pt x="1080024" y="2349134"/>
                  </a:lnTo>
                  <a:lnTo>
                    <a:pt x="1032565" y="2344315"/>
                  </a:lnTo>
                  <a:lnTo>
                    <a:pt x="985680" y="2337635"/>
                  </a:lnTo>
                  <a:lnTo>
                    <a:pt x="939408" y="2329131"/>
                  </a:lnTo>
                  <a:lnTo>
                    <a:pt x="893786" y="2318841"/>
                  </a:lnTo>
                  <a:lnTo>
                    <a:pt x="848853" y="2306803"/>
                  </a:lnTo>
                  <a:lnTo>
                    <a:pt x="804646" y="2293054"/>
                  </a:lnTo>
                  <a:lnTo>
                    <a:pt x="761204" y="2277633"/>
                  </a:lnTo>
                  <a:lnTo>
                    <a:pt x="718563" y="2260577"/>
                  </a:lnTo>
                  <a:lnTo>
                    <a:pt x="676762" y="2241925"/>
                  </a:lnTo>
                  <a:lnTo>
                    <a:pt x="635839" y="2221713"/>
                  </a:lnTo>
                  <a:lnTo>
                    <a:pt x="595832" y="2199980"/>
                  </a:lnTo>
                  <a:lnTo>
                    <a:pt x="556778" y="2176765"/>
                  </a:lnTo>
                  <a:lnTo>
                    <a:pt x="518715" y="2152103"/>
                  </a:lnTo>
                  <a:lnTo>
                    <a:pt x="481681" y="2126034"/>
                  </a:lnTo>
                  <a:lnTo>
                    <a:pt x="445714" y="2098596"/>
                  </a:lnTo>
                  <a:lnTo>
                    <a:pt x="410852" y="2069825"/>
                  </a:lnTo>
                  <a:lnTo>
                    <a:pt x="377132" y="2039761"/>
                  </a:lnTo>
                  <a:lnTo>
                    <a:pt x="344593" y="2008440"/>
                  </a:lnTo>
                  <a:lnTo>
                    <a:pt x="313273" y="1975901"/>
                  </a:lnTo>
                  <a:lnTo>
                    <a:pt x="283208" y="1942181"/>
                  </a:lnTo>
                  <a:lnTo>
                    <a:pt x="254438" y="1907319"/>
                  </a:lnTo>
                  <a:lnTo>
                    <a:pt x="226999" y="1871352"/>
                  </a:lnTo>
                  <a:lnTo>
                    <a:pt x="200930" y="1834319"/>
                  </a:lnTo>
                  <a:lnTo>
                    <a:pt x="176269" y="1796256"/>
                  </a:lnTo>
                  <a:lnTo>
                    <a:pt x="153053" y="1757202"/>
                  </a:lnTo>
                  <a:lnTo>
                    <a:pt x="131320" y="1717194"/>
                  </a:lnTo>
                  <a:lnTo>
                    <a:pt x="111109" y="1676271"/>
                  </a:lnTo>
                  <a:lnTo>
                    <a:pt x="92456" y="1634470"/>
                  </a:lnTo>
                  <a:lnTo>
                    <a:pt x="75400" y="1591830"/>
                  </a:lnTo>
                  <a:lnTo>
                    <a:pt x="59979" y="1548387"/>
                  </a:lnTo>
                  <a:lnTo>
                    <a:pt x="46230" y="1504180"/>
                  </a:lnTo>
                  <a:lnTo>
                    <a:pt x="34192" y="1459247"/>
                  </a:lnTo>
                  <a:lnTo>
                    <a:pt x="23902" y="1413626"/>
                  </a:lnTo>
                  <a:lnTo>
                    <a:pt x="15398" y="1367354"/>
                  </a:lnTo>
                  <a:lnTo>
                    <a:pt x="8718" y="1320469"/>
                  </a:lnTo>
                  <a:lnTo>
                    <a:pt x="3900" y="1273009"/>
                  </a:lnTo>
                  <a:lnTo>
                    <a:pt x="981" y="1225013"/>
                  </a:lnTo>
                  <a:lnTo>
                    <a:pt x="0" y="1176517"/>
                  </a:lnTo>
                  <a:lnTo>
                    <a:pt x="981" y="1128021"/>
                  </a:lnTo>
                  <a:lnTo>
                    <a:pt x="3900" y="1080024"/>
                  </a:lnTo>
                  <a:lnTo>
                    <a:pt x="8718" y="1032564"/>
                  </a:lnTo>
                  <a:lnTo>
                    <a:pt x="15398" y="985679"/>
                  </a:lnTo>
                  <a:lnTo>
                    <a:pt x="23902" y="939407"/>
                  </a:lnTo>
                  <a:lnTo>
                    <a:pt x="34192" y="893786"/>
                  </a:lnTo>
                  <a:lnTo>
                    <a:pt x="46230" y="848853"/>
                  </a:lnTo>
                  <a:lnTo>
                    <a:pt x="59979" y="804646"/>
                  </a:lnTo>
                  <a:lnTo>
                    <a:pt x="75400" y="761204"/>
                  </a:lnTo>
                  <a:lnTo>
                    <a:pt x="92456" y="718563"/>
                  </a:lnTo>
                  <a:lnTo>
                    <a:pt x="111109" y="676762"/>
                  </a:lnTo>
                  <a:lnTo>
                    <a:pt x="131320" y="635839"/>
                  </a:lnTo>
                  <a:lnTo>
                    <a:pt x="153053" y="595832"/>
                  </a:lnTo>
                  <a:lnTo>
                    <a:pt x="176269" y="556778"/>
                  </a:lnTo>
                  <a:lnTo>
                    <a:pt x="200930" y="518715"/>
                  </a:lnTo>
                  <a:lnTo>
                    <a:pt x="226999" y="481681"/>
                  </a:lnTo>
                  <a:lnTo>
                    <a:pt x="254438" y="445714"/>
                  </a:lnTo>
                  <a:lnTo>
                    <a:pt x="283208" y="410852"/>
                  </a:lnTo>
                  <a:lnTo>
                    <a:pt x="313273" y="377132"/>
                  </a:lnTo>
                  <a:lnTo>
                    <a:pt x="344593" y="344593"/>
                  </a:lnTo>
                  <a:lnTo>
                    <a:pt x="377132" y="313273"/>
                  </a:lnTo>
                  <a:lnTo>
                    <a:pt x="410852" y="283208"/>
                  </a:lnTo>
                  <a:lnTo>
                    <a:pt x="445714" y="254438"/>
                  </a:lnTo>
                  <a:lnTo>
                    <a:pt x="481681" y="226999"/>
                  </a:lnTo>
                  <a:lnTo>
                    <a:pt x="518715" y="200930"/>
                  </a:lnTo>
                  <a:lnTo>
                    <a:pt x="556778" y="176269"/>
                  </a:lnTo>
                  <a:lnTo>
                    <a:pt x="595832" y="153053"/>
                  </a:lnTo>
                  <a:lnTo>
                    <a:pt x="635839" y="131320"/>
                  </a:lnTo>
                  <a:lnTo>
                    <a:pt x="676762" y="111109"/>
                  </a:lnTo>
                  <a:lnTo>
                    <a:pt x="718563" y="92456"/>
                  </a:lnTo>
                  <a:lnTo>
                    <a:pt x="761204" y="75400"/>
                  </a:lnTo>
                  <a:lnTo>
                    <a:pt x="804646" y="59979"/>
                  </a:lnTo>
                  <a:lnTo>
                    <a:pt x="848853" y="46231"/>
                  </a:lnTo>
                  <a:lnTo>
                    <a:pt x="893786" y="34192"/>
                  </a:lnTo>
                  <a:lnTo>
                    <a:pt x="939408" y="23902"/>
                  </a:lnTo>
                  <a:lnTo>
                    <a:pt x="985680" y="15398"/>
                  </a:lnTo>
                  <a:lnTo>
                    <a:pt x="1032565" y="8718"/>
                  </a:lnTo>
                  <a:lnTo>
                    <a:pt x="1080024" y="3900"/>
                  </a:lnTo>
                  <a:lnTo>
                    <a:pt x="1128021" y="981"/>
                  </a:lnTo>
                  <a:lnTo>
                    <a:pt x="1176517" y="0"/>
                  </a:lnTo>
                  <a:lnTo>
                    <a:pt x="1225013" y="981"/>
                  </a:lnTo>
                  <a:lnTo>
                    <a:pt x="1273010" y="3900"/>
                  </a:lnTo>
                  <a:lnTo>
                    <a:pt x="1320469" y="8718"/>
                  </a:lnTo>
                  <a:lnTo>
                    <a:pt x="1367354" y="15398"/>
                  </a:lnTo>
                  <a:lnTo>
                    <a:pt x="1413626" y="23902"/>
                  </a:lnTo>
                  <a:lnTo>
                    <a:pt x="1459248" y="34192"/>
                  </a:lnTo>
                  <a:lnTo>
                    <a:pt x="1504181" y="46231"/>
                  </a:lnTo>
                  <a:lnTo>
                    <a:pt x="1548387" y="59979"/>
                  </a:lnTo>
                  <a:lnTo>
                    <a:pt x="1591830" y="75400"/>
                  </a:lnTo>
                  <a:lnTo>
                    <a:pt x="1634470" y="92456"/>
                  </a:lnTo>
                  <a:lnTo>
                    <a:pt x="1676271" y="111109"/>
                  </a:lnTo>
                  <a:lnTo>
                    <a:pt x="1717194" y="131320"/>
                  </a:lnTo>
                  <a:lnTo>
                    <a:pt x="1757202" y="153053"/>
                  </a:lnTo>
                  <a:lnTo>
                    <a:pt x="1796256" y="176269"/>
                  </a:lnTo>
                  <a:lnTo>
                    <a:pt x="1834319" y="200930"/>
                  </a:lnTo>
                  <a:lnTo>
                    <a:pt x="1871353" y="226999"/>
                  </a:lnTo>
                  <a:lnTo>
                    <a:pt x="1907319" y="254438"/>
                  </a:lnTo>
                  <a:lnTo>
                    <a:pt x="1942182" y="283208"/>
                  </a:lnTo>
                  <a:lnTo>
                    <a:pt x="1975901" y="313273"/>
                  </a:lnTo>
                  <a:lnTo>
                    <a:pt x="2008440" y="344593"/>
                  </a:lnTo>
                  <a:lnTo>
                    <a:pt x="2039761" y="377132"/>
                  </a:lnTo>
                  <a:lnTo>
                    <a:pt x="2069825" y="410852"/>
                  </a:lnTo>
                  <a:lnTo>
                    <a:pt x="2098596" y="445714"/>
                  </a:lnTo>
                  <a:lnTo>
                    <a:pt x="2126034" y="481681"/>
                  </a:lnTo>
                  <a:lnTo>
                    <a:pt x="2152103" y="518715"/>
                  </a:lnTo>
                  <a:lnTo>
                    <a:pt x="2176765" y="556778"/>
                  </a:lnTo>
                  <a:lnTo>
                    <a:pt x="2199980" y="595832"/>
                  </a:lnTo>
                  <a:lnTo>
                    <a:pt x="2221713" y="635839"/>
                  </a:lnTo>
                  <a:lnTo>
                    <a:pt x="2241925" y="676762"/>
                  </a:lnTo>
                  <a:lnTo>
                    <a:pt x="2260577" y="718563"/>
                  </a:lnTo>
                  <a:lnTo>
                    <a:pt x="2277633" y="761204"/>
                  </a:lnTo>
                  <a:lnTo>
                    <a:pt x="2293054" y="804646"/>
                  </a:lnTo>
                  <a:lnTo>
                    <a:pt x="2306803" y="848853"/>
                  </a:lnTo>
                  <a:lnTo>
                    <a:pt x="2318841" y="893786"/>
                  </a:lnTo>
                  <a:lnTo>
                    <a:pt x="2329131" y="939407"/>
                  </a:lnTo>
                  <a:lnTo>
                    <a:pt x="2337635" y="985679"/>
                  </a:lnTo>
                  <a:lnTo>
                    <a:pt x="2344315" y="1032564"/>
                  </a:lnTo>
                  <a:lnTo>
                    <a:pt x="2349134" y="1080024"/>
                  </a:lnTo>
                  <a:lnTo>
                    <a:pt x="2352052" y="1128021"/>
                  </a:lnTo>
                  <a:lnTo>
                    <a:pt x="2353034" y="1176517"/>
                  </a:lnTo>
                  <a:lnTo>
                    <a:pt x="2352052" y="1225013"/>
                  </a:lnTo>
                  <a:lnTo>
                    <a:pt x="2349134" y="1273009"/>
                  </a:lnTo>
                  <a:lnTo>
                    <a:pt x="2344315" y="1320469"/>
                  </a:lnTo>
                  <a:lnTo>
                    <a:pt x="2337635" y="1367354"/>
                  </a:lnTo>
                  <a:lnTo>
                    <a:pt x="2329131" y="1413626"/>
                  </a:lnTo>
                  <a:lnTo>
                    <a:pt x="2318841" y="1459247"/>
                  </a:lnTo>
                  <a:lnTo>
                    <a:pt x="2306803" y="1504180"/>
                  </a:lnTo>
                  <a:lnTo>
                    <a:pt x="2293054" y="1548387"/>
                  </a:lnTo>
                  <a:lnTo>
                    <a:pt x="2277633" y="1591830"/>
                  </a:lnTo>
                  <a:lnTo>
                    <a:pt x="2260577" y="1634470"/>
                  </a:lnTo>
                  <a:lnTo>
                    <a:pt x="2241925" y="1676271"/>
                  </a:lnTo>
                  <a:lnTo>
                    <a:pt x="2221713" y="1717194"/>
                  </a:lnTo>
                  <a:lnTo>
                    <a:pt x="2199980" y="1757202"/>
                  </a:lnTo>
                  <a:lnTo>
                    <a:pt x="2176765" y="1796256"/>
                  </a:lnTo>
                  <a:lnTo>
                    <a:pt x="2152103" y="1834319"/>
                  </a:lnTo>
                  <a:lnTo>
                    <a:pt x="2126034" y="1871352"/>
                  </a:lnTo>
                  <a:lnTo>
                    <a:pt x="2098596" y="1907319"/>
                  </a:lnTo>
                  <a:lnTo>
                    <a:pt x="2069825" y="1942181"/>
                  </a:lnTo>
                  <a:lnTo>
                    <a:pt x="2039761" y="1975901"/>
                  </a:lnTo>
                  <a:lnTo>
                    <a:pt x="2008440" y="2008440"/>
                  </a:lnTo>
                  <a:lnTo>
                    <a:pt x="1975901" y="2039761"/>
                  </a:lnTo>
                  <a:lnTo>
                    <a:pt x="1942182" y="2069825"/>
                  </a:lnTo>
                  <a:lnTo>
                    <a:pt x="1907319" y="2098596"/>
                  </a:lnTo>
                  <a:lnTo>
                    <a:pt x="1871353" y="2126034"/>
                  </a:lnTo>
                  <a:lnTo>
                    <a:pt x="1834319" y="2152103"/>
                  </a:lnTo>
                  <a:lnTo>
                    <a:pt x="1796256" y="2176765"/>
                  </a:lnTo>
                  <a:lnTo>
                    <a:pt x="1757202" y="2199980"/>
                  </a:lnTo>
                  <a:lnTo>
                    <a:pt x="1717194" y="2221713"/>
                  </a:lnTo>
                  <a:lnTo>
                    <a:pt x="1676271" y="2241925"/>
                  </a:lnTo>
                  <a:lnTo>
                    <a:pt x="1634470" y="2260577"/>
                  </a:lnTo>
                  <a:lnTo>
                    <a:pt x="1591830" y="2277633"/>
                  </a:lnTo>
                  <a:lnTo>
                    <a:pt x="1548387" y="2293054"/>
                  </a:lnTo>
                  <a:lnTo>
                    <a:pt x="1504181" y="2306803"/>
                  </a:lnTo>
                  <a:lnTo>
                    <a:pt x="1459248" y="2318841"/>
                  </a:lnTo>
                  <a:lnTo>
                    <a:pt x="1413626" y="2329131"/>
                  </a:lnTo>
                  <a:lnTo>
                    <a:pt x="1367354" y="2337635"/>
                  </a:lnTo>
                  <a:lnTo>
                    <a:pt x="1320469" y="2344315"/>
                  </a:lnTo>
                  <a:lnTo>
                    <a:pt x="1273010" y="2349134"/>
                  </a:lnTo>
                  <a:lnTo>
                    <a:pt x="1225013" y="2352052"/>
                  </a:lnTo>
                  <a:lnTo>
                    <a:pt x="1176517" y="2353034"/>
                  </a:lnTo>
                  <a:close/>
                </a:path>
              </a:pathLst>
            </a:custGeom>
            <a:solidFill>
              <a:srgbClr val="CCD0A7"/>
            </a:solidFill>
          </p:spPr>
          <p:txBody>
            <a:bodyPr wrap="square" lIns="0" tIns="0" rIns="0" bIns="0" rtlCol="0"/>
            <a:lstStyle/>
            <a:p>
              <a:pPr defTabSz="609630"/>
              <a:endParaRPr sz="1200" kern="0">
                <a:solidFill>
                  <a:sysClr val="windowText" lastClr="000000"/>
                </a:solidFill>
              </a:endParaRPr>
            </a:p>
          </p:txBody>
        </p:sp>
      </p:grpSp>
      <p:sp>
        <p:nvSpPr>
          <p:cNvPr id="5" name="object 5"/>
          <p:cNvSpPr txBox="1">
            <a:spLocks noGrp="1"/>
          </p:cNvSpPr>
          <p:nvPr>
            <p:ph type="title"/>
          </p:nvPr>
        </p:nvSpPr>
        <p:spPr>
          <a:xfrm>
            <a:off x="887346" y="21947"/>
            <a:ext cx="6353307" cy="4339751"/>
          </a:xfrm>
          <a:prstGeom prst="rect">
            <a:avLst/>
          </a:prstGeom>
        </p:spPr>
        <p:txBody>
          <a:bodyPr vert="horz" wrap="square" lIns="0" tIns="640180" rIns="0" bIns="0" rtlCol="0">
            <a:spAutoFit/>
          </a:bodyPr>
          <a:lstStyle/>
          <a:p>
            <a:pPr marL="4949437">
              <a:spcBef>
                <a:spcPts val="67"/>
              </a:spcBef>
            </a:pPr>
            <a:r>
              <a:rPr spc="277" dirty="0"/>
              <a:t>Thank</a:t>
            </a:r>
            <a:r>
              <a:rPr spc="-413" dirty="0"/>
              <a:t> </a:t>
            </a:r>
            <a:r>
              <a:rPr spc="80" dirty="0"/>
              <a:t>you!</a:t>
            </a:r>
          </a:p>
        </p:txBody>
      </p:sp>
      <p:sp>
        <p:nvSpPr>
          <p:cNvPr id="6" name="object 6"/>
          <p:cNvSpPr txBox="1">
            <a:spLocks noGrp="1"/>
          </p:cNvSpPr>
          <p:nvPr>
            <p:ph type="body" idx="1"/>
          </p:nvPr>
        </p:nvSpPr>
        <p:spPr>
          <a:xfrm>
            <a:off x="3272662" y="1573390"/>
            <a:ext cx="4531925" cy="8281477"/>
          </a:xfrm>
          <a:prstGeom prst="rect">
            <a:avLst/>
          </a:prstGeom>
        </p:spPr>
        <p:txBody>
          <a:bodyPr vert="horz" wrap="square" lIns="0" tIns="53763" rIns="0" bIns="0" rtlCol="0">
            <a:spAutoFit/>
          </a:bodyPr>
          <a:lstStyle/>
          <a:p>
            <a:pPr marL="1725170" marR="1720089" indent="988109">
              <a:lnSpc>
                <a:spcPts val="3053"/>
              </a:lnSpc>
              <a:spcBef>
                <a:spcPts val="423"/>
              </a:spcBef>
              <a:tabLst>
                <a:tab pos="3035875" algn="l"/>
                <a:tab pos="4062086" algn="l"/>
              </a:tabLst>
            </a:pPr>
            <a:r>
              <a:rPr spc="-7" dirty="0"/>
              <a:t>Contact: Jeanine</a:t>
            </a:r>
            <a:r>
              <a:rPr dirty="0"/>
              <a:t>	</a:t>
            </a:r>
            <a:r>
              <a:rPr spc="-7" dirty="0"/>
              <a:t>Valrie</a:t>
            </a:r>
            <a:r>
              <a:rPr dirty="0"/>
              <a:t>	</a:t>
            </a:r>
            <a:r>
              <a:rPr spc="-57" dirty="0"/>
              <a:t>Logan</a:t>
            </a:r>
          </a:p>
          <a:p>
            <a:pPr marL="8467">
              <a:lnSpc>
                <a:spcPts val="2997"/>
              </a:lnSpc>
              <a:tabLst>
                <a:tab pos="1409770" algn="l"/>
                <a:tab pos="2474084" algn="l"/>
                <a:tab pos="3269143" algn="l"/>
                <a:tab pos="4170889" algn="l"/>
                <a:tab pos="5375755" algn="l"/>
              </a:tabLst>
            </a:pPr>
            <a:r>
              <a:rPr spc="-7" dirty="0"/>
              <a:t>Chicago</a:t>
            </a:r>
            <a:r>
              <a:rPr dirty="0"/>
              <a:t>	</a:t>
            </a:r>
            <a:r>
              <a:rPr spc="-7" dirty="0"/>
              <a:t>South</a:t>
            </a:r>
            <a:r>
              <a:rPr dirty="0"/>
              <a:t>	</a:t>
            </a:r>
            <a:r>
              <a:rPr spc="-13" dirty="0"/>
              <a:t>Side</a:t>
            </a:r>
            <a:r>
              <a:rPr dirty="0"/>
              <a:t>	</a:t>
            </a:r>
            <a:r>
              <a:rPr spc="-7" dirty="0"/>
              <a:t>Birth</a:t>
            </a:r>
            <a:r>
              <a:rPr dirty="0"/>
              <a:t>	</a:t>
            </a:r>
            <a:r>
              <a:rPr spc="-7" dirty="0"/>
              <a:t>Center</a:t>
            </a:r>
            <a:r>
              <a:rPr dirty="0"/>
              <a:t>	</a:t>
            </a:r>
            <a:r>
              <a:rPr spc="-33" dirty="0"/>
              <a:t>Initiative</a:t>
            </a:r>
          </a:p>
          <a:p>
            <a:pPr marL="245969" marR="11431" indent="-229458">
              <a:lnSpc>
                <a:spcPct val="181500"/>
              </a:lnSpc>
              <a:spcBef>
                <a:spcPts val="3550"/>
              </a:spcBef>
            </a:pPr>
            <a:r>
              <a:rPr spc="-27" dirty="0">
                <a:hlinkClick r:id="rId3"/>
              </a:rPr>
              <a:t>chicagosouthsidebirthcenter@gmail.com</a:t>
            </a:r>
            <a:r>
              <a:rPr spc="-27" dirty="0"/>
              <a:t> </a:t>
            </a:r>
            <a:r>
              <a:rPr spc="-7" dirty="0">
                <a:hlinkClick r:id="rId4"/>
              </a:rPr>
              <a:t>www.chicagosouthsidebirthcenter.org</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72639" y="862661"/>
            <a:ext cx="6709409" cy="1595120"/>
          </a:xfrm>
          <a:prstGeom prst="rect">
            <a:avLst/>
          </a:prstGeom>
        </p:spPr>
        <p:txBody>
          <a:bodyPr vert="horz" wrap="square" lIns="0" tIns="65405" rIns="0" bIns="0" rtlCol="0">
            <a:spAutoFit/>
          </a:bodyPr>
          <a:lstStyle/>
          <a:p>
            <a:pPr algn="ctr">
              <a:lnSpc>
                <a:spcPct val="100000"/>
              </a:lnSpc>
              <a:spcBef>
                <a:spcPts val="515"/>
              </a:spcBef>
              <a:tabLst>
                <a:tab pos="2011045" algn="l"/>
              </a:tabLst>
            </a:pPr>
            <a:r>
              <a:rPr sz="4800" spc="440" dirty="0"/>
              <a:t>BIRTH</a:t>
            </a:r>
            <a:r>
              <a:rPr sz="4800" dirty="0"/>
              <a:t>	</a:t>
            </a:r>
            <a:r>
              <a:rPr sz="4800" spc="484" dirty="0"/>
              <a:t>CENTERS</a:t>
            </a:r>
            <a:endParaRPr sz="4800"/>
          </a:p>
          <a:p>
            <a:pPr algn="ctr">
              <a:lnSpc>
                <a:spcPct val="100000"/>
              </a:lnSpc>
              <a:spcBef>
                <a:spcPts val="420"/>
              </a:spcBef>
              <a:tabLst>
                <a:tab pos="1368425" algn="l"/>
                <a:tab pos="3625850" algn="l"/>
              </a:tabLst>
            </a:pPr>
            <a:r>
              <a:rPr sz="4800" spc="405" dirty="0"/>
              <a:t>THE</a:t>
            </a:r>
            <a:r>
              <a:rPr sz="4800" dirty="0"/>
              <a:t>	</a:t>
            </a:r>
            <a:r>
              <a:rPr sz="4800" spc="360" dirty="0"/>
              <a:t>VIABLE</a:t>
            </a:r>
            <a:r>
              <a:rPr sz="4800" dirty="0"/>
              <a:t>	</a:t>
            </a:r>
            <a:r>
              <a:rPr sz="4800" spc="445" dirty="0"/>
              <a:t>SOLUTION</a:t>
            </a:r>
            <a:endParaRPr sz="4800"/>
          </a:p>
        </p:txBody>
      </p:sp>
      <p:sp>
        <p:nvSpPr>
          <p:cNvPr id="3" name="object 3"/>
          <p:cNvSpPr txBox="1"/>
          <p:nvPr/>
        </p:nvSpPr>
        <p:spPr>
          <a:xfrm>
            <a:off x="2787776" y="3845286"/>
            <a:ext cx="6275705" cy="1313815"/>
          </a:xfrm>
          <a:prstGeom prst="rect">
            <a:avLst/>
          </a:prstGeom>
        </p:spPr>
        <p:txBody>
          <a:bodyPr vert="horz" wrap="square" lIns="0" tIns="86360" rIns="0" bIns="0" rtlCol="0">
            <a:spAutoFit/>
          </a:bodyPr>
          <a:lstStyle/>
          <a:p>
            <a:pPr marL="8890" marR="0" lvl="0" indent="0" algn="ctr" defTabSz="914400" eaLnBrk="1" fontAlgn="auto" latinLnBrk="0" hangingPunct="1">
              <a:lnSpc>
                <a:spcPct val="100000"/>
              </a:lnSpc>
              <a:spcBef>
                <a:spcPts val="680"/>
              </a:spcBef>
              <a:spcAft>
                <a:spcPts val="0"/>
              </a:spcAft>
              <a:buClrTx/>
              <a:buSzTx/>
              <a:buFontTx/>
              <a:buNone/>
              <a:tabLst>
                <a:tab pos="1652270" algn="l"/>
              </a:tabLst>
              <a:defRPr/>
            </a:pPr>
            <a:r>
              <a:rPr kumimoji="0" sz="2000" b="0" i="0" u="none" strike="noStrike" kern="0" cap="none" spc="90" normalizeH="0" baseline="0" noProof="0" dirty="0">
                <a:ln>
                  <a:noFill/>
                </a:ln>
                <a:solidFill>
                  <a:srgbClr val="FFFFFF"/>
                </a:solidFill>
                <a:effectLst/>
                <a:uLnTx/>
                <a:uFillTx/>
                <a:latin typeface="Calibri"/>
                <a:cs typeface="Calibri"/>
              </a:rPr>
              <a:t>P</a:t>
            </a:r>
            <a:r>
              <a:rPr kumimoji="0" sz="2000" b="0" i="0" u="none" strike="noStrike" kern="0" cap="none" spc="-45"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R</a:t>
            </a:r>
            <a:r>
              <a:rPr kumimoji="0" sz="2000" b="0" i="0" u="none" strike="noStrike" kern="0" cap="none" spc="-45" normalizeH="0" baseline="0" noProof="0" dirty="0">
                <a:ln>
                  <a:noFill/>
                </a:ln>
                <a:solidFill>
                  <a:srgbClr val="FFFFFF"/>
                </a:solidFill>
                <a:effectLst/>
                <a:uLnTx/>
                <a:uFillTx/>
                <a:latin typeface="Calibri"/>
                <a:cs typeface="Calibri"/>
              </a:rPr>
              <a:t> </a:t>
            </a:r>
            <a:r>
              <a:rPr kumimoji="0" sz="2000" b="0" i="0" u="none" strike="noStrike" kern="0" cap="none" spc="75" normalizeH="0" baseline="0" noProof="0" dirty="0">
                <a:ln>
                  <a:noFill/>
                </a:ln>
                <a:solidFill>
                  <a:srgbClr val="FFFFFF"/>
                </a:solidFill>
                <a:effectLst/>
                <a:uLnTx/>
                <a:uFillTx/>
                <a:latin typeface="Calibri"/>
                <a:cs typeface="Calibri"/>
              </a:rPr>
              <a:t>E</a:t>
            </a:r>
            <a:r>
              <a:rPr kumimoji="0" sz="2000" b="0" i="0" u="none" strike="noStrike" kern="0" cap="none" spc="-45" normalizeH="0" baseline="0" noProof="0" dirty="0">
                <a:ln>
                  <a:noFill/>
                </a:ln>
                <a:solidFill>
                  <a:srgbClr val="FFFFFF"/>
                </a:solidFill>
                <a:effectLst/>
                <a:uLnTx/>
                <a:uFillTx/>
                <a:latin typeface="Calibri"/>
                <a:cs typeface="Calibri"/>
              </a:rPr>
              <a:t> </a:t>
            </a:r>
            <a:r>
              <a:rPr kumimoji="0" sz="2000" b="0" i="0" u="none" strike="noStrike" kern="0" cap="none" spc="90" normalizeH="0" baseline="0" noProof="0" dirty="0">
                <a:ln>
                  <a:noFill/>
                </a:ln>
                <a:solidFill>
                  <a:srgbClr val="FFFFFF"/>
                </a:solidFill>
                <a:effectLst/>
                <a:uLnTx/>
                <a:uFillTx/>
                <a:latin typeface="Calibri"/>
                <a:cs typeface="Calibri"/>
              </a:rPr>
              <a:t>P</a:t>
            </a:r>
            <a:r>
              <a:rPr kumimoji="0" sz="2000" b="0" i="0" u="none" strike="noStrike" kern="0" cap="none" spc="-40" normalizeH="0" baseline="0" noProof="0" dirty="0">
                <a:ln>
                  <a:noFill/>
                </a:ln>
                <a:solidFill>
                  <a:srgbClr val="FFFFFF"/>
                </a:solidFill>
                <a:effectLst/>
                <a:uLnTx/>
                <a:uFillTx/>
                <a:latin typeface="Calibri"/>
                <a:cs typeface="Calibri"/>
              </a:rPr>
              <a:t> </a:t>
            </a:r>
            <a:r>
              <a:rPr kumimoji="0" sz="2000" b="0" i="0" u="none" strike="noStrike" kern="0" cap="none" spc="-85" normalizeH="0" baseline="0" noProof="0" dirty="0">
                <a:ln>
                  <a:noFill/>
                </a:ln>
                <a:solidFill>
                  <a:srgbClr val="FFFFFF"/>
                </a:solidFill>
                <a:effectLst/>
                <a:uLnTx/>
                <a:uFillTx/>
                <a:latin typeface="Calibri"/>
                <a:cs typeface="Calibri"/>
              </a:rPr>
              <a:t>A</a:t>
            </a:r>
            <a:r>
              <a:rPr kumimoji="0" sz="2000" b="0" i="0" u="none" strike="noStrike" kern="0" cap="none" spc="-45"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R</a:t>
            </a:r>
            <a:r>
              <a:rPr kumimoji="0" sz="2000" b="0" i="0" u="none" strike="noStrike" kern="0" cap="none" spc="-45" normalizeH="0" baseline="0" noProof="0" dirty="0">
                <a:ln>
                  <a:noFill/>
                </a:ln>
                <a:solidFill>
                  <a:srgbClr val="FFFFFF"/>
                </a:solidFill>
                <a:effectLst/>
                <a:uLnTx/>
                <a:uFillTx/>
                <a:latin typeface="Calibri"/>
                <a:cs typeface="Calibri"/>
              </a:rPr>
              <a:t> </a:t>
            </a:r>
            <a:r>
              <a:rPr kumimoji="0" sz="2000" b="0" i="0" u="none" strike="noStrike" kern="0" cap="none" spc="75" normalizeH="0" baseline="0" noProof="0" dirty="0">
                <a:ln>
                  <a:noFill/>
                </a:ln>
                <a:solidFill>
                  <a:srgbClr val="FFFFFF"/>
                </a:solidFill>
                <a:effectLst/>
                <a:uLnTx/>
                <a:uFillTx/>
                <a:latin typeface="Calibri"/>
                <a:cs typeface="Calibri"/>
              </a:rPr>
              <a:t>E</a:t>
            </a:r>
            <a:r>
              <a:rPr kumimoji="0" sz="2000" b="0" i="0" u="none" strike="noStrike" kern="0" cap="none" spc="-45" normalizeH="0" baseline="0" noProof="0" dirty="0">
                <a:ln>
                  <a:noFill/>
                </a:ln>
                <a:solidFill>
                  <a:srgbClr val="FFFFFF"/>
                </a:solidFill>
                <a:effectLst/>
                <a:uLnTx/>
                <a:uFillTx/>
                <a:latin typeface="Calibri"/>
                <a:cs typeface="Calibri"/>
              </a:rPr>
              <a:t> </a:t>
            </a:r>
            <a:r>
              <a:rPr kumimoji="0" sz="2000" b="0" i="0" u="none" strike="noStrike" kern="0" cap="none" spc="-50" normalizeH="0" baseline="0" noProof="0" dirty="0">
                <a:ln>
                  <a:noFill/>
                </a:ln>
                <a:solidFill>
                  <a:srgbClr val="FFFFFF"/>
                </a:solidFill>
                <a:effectLst/>
                <a:uLnTx/>
                <a:uFillTx/>
                <a:latin typeface="Calibri"/>
                <a:cs typeface="Calibri"/>
              </a:rPr>
              <a:t>D</a:t>
            </a:r>
            <a:r>
              <a:rPr kumimoji="0" sz="2000" b="0" i="0" u="none" strike="noStrike" kern="0" cap="none" spc="0" normalizeH="0" baseline="0" noProof="0" dirty="0">
                <a:ln>
                  <a:noFill/>
                </a:ln>
                <a:solidFill>
                  <a:srgbClr val="FFFFFF"/>
                </a:solidFill>
                <a:effectLst/>
                <a:uLnTx/>
                <a:uFillTx/>
                <a:latin typeface="Calibri"/>
                <a:cs typeface="Calibri"/>
              </a:rPr>
              <a:t>	</a:t>
            </a:r>
            <a:r>
              <a:rPr kumimoji="0" sz="2000" b="0" i="0" u="none" strike="noStrike" kern="0" cap="none" spc="85" normalizeH="0" baseline="0" noProof="0" dirty="0">
                <a:ln>
                  <a:noFill/>
                </a:ln>
                <a:solidFill>
                  <a:srgbClr val="FFFFFF"/>
                </a:solidFill>
                <a:effectLst/>
                <a:uLnTx/>
                <a:uFillTx/>
                <a:latin typeface="Calibri"/>
                <a:cs typeface="Calibri"/>
              </a:rPr>
              <a:t>B</a:t>
            </a:r>
            <a:r>
              <a:rPr kumimoji="0" sz="2000" b="0" i="0" u="none" strike="noStrike" kern="0" cap="none" spc="-65" normalizeH="0" baseline="0" noProof="0" dirty="0">
                <a:ln>
                  <a:noFill/>
                </a:ln>
                <a:solidFill>
                  <a:srgbClr val="FFFFFF"/>
                </a:solidFill>
                <a:effectLst/>
                <a:uLnTx/>
                <a:uFillTx/>
                <a:latin typeface="Calibri"/>
                <a:cs typeface="Calibri"/>
              </a:rPr>
              <a:t> </a:t>
            </a:r>
            <a:r>
              <a:rPr kumimoji="0" sz="2000" b="0" i="0" u="none" strike="noStrike" kern="0" cap="none" spc="-50" normalizeH="0" baseline="0" noProof="0" dirty="0">
                <a:ln>
                  <a:noFill/>
                </a:ln>
                <a:solidFill>
                  <a:srgbClr val="FFFFFF"/>
                </a:solidFill>
                <a:effectLst/>
                <a:uLnTx/>
                <a:uFillTx/>
                <a:latin typeface="Calibri"/>
                <a:cs typeface="Calibri"/>
              </a:rPr>
              <a:t>Y</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12700" marR="5080" lvl="0" indent="0" algn="ctr" defTabSz="914400" eaLnBrk="1" fontAlgn="auto" latinLnBrk="0" hangingPunct="1">
              <a:lnSpc>
                <a:spcPts val="3590"/>
              </a:lnSpc>
              <a:spcBef>
                <a:spcPts val="80"/>
              </a:spcBef>
              <a:spcAft>
                <a:spcPts val="0"/>
              </a:spcAft>
              <a:buClrTx/>
              <a:buSzTx/>
              <a:buFontTx/>
              <a:buNone/>
              <a:tabLst>
                <a:tab pos="1169035" algn="l"/>
                <a:tab pos="1223645" algn="l"/>
                <a:tab pos="3029585" algn="l"/>
                <a:tab pos="3178810" algn="l"/>
                <a:tab pos="3869690" algn="l"/>
                <a:tab pos="4218305" algn="l"/>
              </a:tabLst>
              <a:defRPr/>
            </a:pPr>
            <a:r>
              <a:rPr kumimoji="0" sz="2400" b="0" i="0" u="none" strike="noStrike" kern="0" cap="none" spc="150" normalizeH="0" baseline="0" noProof="0" dirty="0">
                <a:ln>
                  <a:noFill/>
                </a:ln>
                <a:solidFill>
                  <a:srgbClr val="FFFFFF"/>
                </a:solidFill>
                <a:effectLst/>
                <a:uLnTx/>
                <a:uFillTx/>
                <a:latin typeface="Calibri"/>
                <a:cs typeface="Calibri"/>
              </a:rPr>
              <a:t>L</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90" normalizeH="0" baseline="0" noProof="0" dirty="0">
                <a:ln>
                  <a:noFill/>
                </a:ln>
                <a:solidFill>
                  <a:srgbClr val="FFFFFF"/>
                </a:solidFill>
                <a:effectLst/>
                <a:uLnTx/>
                <a:uFillTx/>
                <a:latin typeface="Calibri"/>
                <a:cs typeface="Calibri"/>
              </a:rPr>
              <a:t>A</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U</a:t>
            </a:r>
            <a:r>
              <a:rPr kumimoji="0" sz="2400" b="0" i="0" u="none" strike="noStrike" kern="0" cap="none" spc="-145" normalizeH="0" baseline="0" noProof="0" dirty="0">
                <a:ln>
                  <a:noFill/>
                </a:ln>
                <a:solidFill>
                  <a:srgbClr val="FFFFFF"/>
                </a:solidFill>
                <a:effectLst/>
                <a:uLnTx/>
                <a:uFillTx/>
                <a:latin typeface="Calibri"/>
                <a:cs typeface="Calibri"/>
              </a:rPr>
              <a:t> </a:t>
            </a:r>
            <a:r>
              <a:rPr kumimoji="0" sz="2400" b="0" i="0" u="none" strike="noStrike" kern="0" cap="none" spc="65" normalizeH="0" baseline="0" noProof="0" dirty="0">
                <a:ln>
                  <a:noFill/>
                </a:ln>
                <a:solidFill>
                  <a:srgbClr val="FFFFFF"/>
                </a:solidFill>
                <a:effectLst/>
                <a:uLnTx/>
                <a:uFillTx/>
                <a:latin typeface="Calibri"/>
                <a:cs typeface="Calibri"/>
              </a:rPr>
              <a:t>R</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50" normalizeH="0" baseline="0" noProof="0" dirty="0">
                <a:ln>
                  <a:noFill/>
                </a:ln>
                <a:solidFill>
                  <a:srgbClr val="FFFFFF"/>
                </a:solidFill>
                <a:effectLst/>
                <a:uLnTx/>
                <a:uFillTx/>
                <a:latin typeface="Calibri"/>
                <a:cs typeface="Calibri"/>
              </a:rPr>
              <a:t>A</a:t>
            </a:r>
            <a:r>
              <a:rPr kumimoji="0" sz="2400" b="0" i="0" u="none" strike="noStrike" kern="0" cap="none" spc="0" normalizeH="0" baseline="0" noProof="0" dirty="0">
                <a:ln>
                  <a:noFill/>
                </a:ln>
                <a:solidFill>
                  <a:srgbClr val="FFFFFF"/>
                </a:solidFill>
                <a:effectLst/>
                <a:uLnTx/>
                <a:uFillTx/>
                <a:latin typeface="Calibri"/>
                <a:cs typeface="Calibri"/>
              </a:rPr>
              <a:t>		</a:t>
            </a:r>
            <a:r>
              <a:rPr kumimoji="0" sz="2400" b="0" i="0" u="none" strike="noStrike" kern="0" cap="none" spc="-260" normalizeH="0" baseline="0" noProof="0" dirty="0">
                <a:ln>
                  <a:noFill/>
                </a:ln>
                <a:solidFill>
                  <a:srgbClr val="FFFFFF"/>
                </a:solidFill>
                <a:effectLst/>
                <a:uLnTx/>
                <a:uFillTx/>
                <a:latin typeface="Calibri"/>
                <a:cs typeface="Calibri"/>
              </a:rPr>
              <a:t>W</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I</a:t>
            </a:r>
            <a:r>
              <a:rPr kumimoji="0" sz="2400" b="0" i="0" u="none" strike="noStrike" kern="0" cap="none" spc="-135" normalizeH="0" baseline="0" noProof="0" dirty="0">
                <a:ln>
                  <a:noFill/>
                </a:ln>
                <a:solidFill>
                  <a:srgbClr val="FFFFFF"/>
                </a:solidFill>
                <a:effectLst/>
                <a:uLnTx/>
                <a:uFillTx/>
                <a:latin typeface="Calibri"/>
                <a:cs typeface="Calibri"/>
              </a:rPr>
              <a:t> </a:t>
            </a:r>
            <a:r>
              <a:rPr kumimoji="0" sz="2400" b="0" i="0" u="none" strike="noStrike" kern="0" cap="none" spc="80" normalizeH="0" baseline="0" noProof="0" dirty="0">
                <a:ln>
                  <a:noFill/>
                </a:ln>
                <a:solidFill>
                  <a:srgbClr val="FFFFFF"/>
                </a:solidFill>
                <a:effectLst/>
                <a:uLnTx/>
                <a:uFillTx/>
                <a:latin typeface="Calibri"/>
                <a:cs typeface="Calibri"/>
              </a:rPr>
              <a:t>E</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55" normalizeH="0" baseline="0" noProof="0" dirty="0">
                <a:ln>
                  <a:noFill/>
                </a:ln>
                <a:solidFill>
                  <a:srgbClr val="FFFFFF"/>
                </a:solidFill>
                <a:effectLst/>
                <a:uLnTx/>
                <a:uFillTx/>
                <a:latin typeface="Calibri"/>
                <a:cs typeface="Calibri"/>
              </a:rPr>
              <a:t>G</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90" normalizeH="0" baseline="0" noProof="0" dirty="0">
                <a:ln>
                  <a:noFill/>
                </a:ln>
                <a:solidFill>
                  <a:srgbClr val="FFFFFF"/>
                </a:solidFill>
                <a:effectLst/>
                <a:uLnTx/>
                <a:uFillTx/>
                <a:latin typeface="Calibri"/>
                <a:cs typeface="Calibri"/>
              </a:rPr>
              <a:t>A</a:t>
            </a:r>
            <a:r>
              <a:rPr kumimoji="0" sz="2400" b="0" i="0" u="none" strike="noStrike" kern="0" cap="none" spc="-14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N</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D</a:t>
            </a:r>
            <a:r>
              <a:rPr kumimoji="0" sz="2400" b="0" i="0" u="none" strike="noStrike" kern="0" cap="none" spc="-140" normalizeH="0" baseline="0" noProof="0" dirty="0">
                <a:ln>
                  <a:noFill/>
                </a:ln>
                <a:solidFill>
                  <a:srgbClr val="FFFFFF"/>
                </a:solidFill>
                <a:effectLst/>
                <a:uLnTx/>
                <a:uFillTx/>
                <a:latin typeface="Calibri"/>
                <a:cs typeface="Calibri"/>
              </a:rPr>
              <a:t> </a:t>
            </a:r>
            <a:r>
              <a:rPr kumimoji="0" sz="2400" b="0" i="0" u="none" strike="noStrike" kern="0" cap="none" spc="-50" normalizeH="0" baseline="0" noProof="0" dirty="0">
                <a:ln>
                  <a:noFill/>
                </a:ln>
                <a:solidFill>
                  <a:srgbClr val="FFFFFF"/>
                </a:solidFill>
                <a:effectLst/>
                <a:uLnTx/>
                <a:uFillTx/>
                <a:latin typeface="Calibri"/>
                <a:cs typeface="Calibri"/>
              </a:rPr>
              <a:t>,</a:t>
            </a:r>
            <a:r>
              <a:rPr kumimoji="0" sz="2400" b="0" i="0" u="none" strike="noStrike" kern="0" cap="none" spc="0" normalizeH="0" baseline="0" noProof="0" dirty="0">
                <a:ln>
                  <a:noFill/>
                </a:ln>
                <a:solidFill>
                  <a:srgbClr val="FFFFFF"/>
                </a:solidFill>
                <a:effectLst/>
                <a:uLnTx/>
                <a:uFillTx/>
                <a:latin typeface="Calibri"/>
                <a:cs typeface="Calibri"/>
              </a:rPr>
              <a:t>	</a:t>
            </a:r>
            <a:r>
              <a:rPr kumimoji="0" sz="2400" b="0" i="0" u="none" strike="noStrike" kern="0" cap="none" spc="85" normalizeH="0" baseline="0" noProof="0" dirty="0">
                <a:ln>
                  <a:noFill/>
                </a:ln>
                <a:solidFill>
                  <a:srgbClr val="FFFFFF"/>
                </a:solidFill>
                <a:effectLst/>
                <a:uLnTx/>
                <a:uFillTx/>
                <a:latin typeface="Calibri"/>
                <a:cs typeface="Calibri"/>
              </a:rPr>
              <a:t>C</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O</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50" normalizeH="0" baseline="0" noProof="0" dirty="0">
                <a:ln>
                  <a:noFill/>
                </a:ln>
                <a:solidFill>
                  <a:srgbClr val="FFFFFF"/>
                </a:solidFill>
                <a:effectLst/>
                <a:uLnTx/>
                <a:uFillTx/>
                <a:latin typeface="Calibri"/>
                <a:cs typeface="Calibri"/>
              </a:rPr>
              <a:t>O</a:t>
            </a:r>
            <a:r>
              <a:rPr kumimoji="0" sz="2400" b="0" i="0" u="none" strike="noStrike" kern="0" cap="none" spc="0" normalizeH="0" baseline="0" noProof="0" dirty="0">
                <a:ln>
                  <a:noFill/>
                </a:ln>
                <a:solidFill>
                  <a:srgbClr val="FFFFFF"/>
                </a:solidFill>
                <a:effectLst/>
                <a:uLnTx/>
                <a:uFillTx/>
                <a:latin typeface="Calibri"/>
                <a:cs typeface="Calibri"/>
              </a:rPr>
              <a:t>	</a:t>
            </a:r>
            <a:r>
              <a:rPr kumimoji="0" sz="2400" b="0" i="0" u="none" strike="noStrike" kern="0" cap="none" spc="-50" normalizeH="0" baseline="0" noProof="0" dirty="0">
                <a:ln>
                  <a:noFill/>
                </a:ln>
                <a:solidFill>
                  <a:srgbClr val="FFFFFF"/>
                </a:solidFill>
                <a:effectLst/>
                <a:uLnTx/>
                <a:uFillTx/>
                <a:latin typeface="Calibri"/>
                <a:cs typeface="Calibri"/>
              </a:rPr>
              <a:t>&amp;</a:t>
            </a:r>
            <a:r>
              <a:rPr kumimoji="0" sz="2400" b="0" i="0" u="none" strike="noStrike" kern="0" cap="none" spc="0" normalizeH="0" baseline="0" noProof="0" dirty="0">
                <a:ln>
                  <a:noFill/>
                </a:ln>
                <a:solidFill>
                  <a:srgbClr val="FFFFFF"/>
                </a:solidFill>
                <a:effectLst/>
                <a:uLnTx/>
                <a:uFillTx/>
                <a:latin typeface="Calibri"/>
                <a:cs typeface="Calibri"/>
              </a:rPr>
              <a:t>	</a:t>
            </a:r>
            <a:r>
              <a:rPr kumimoji="0" sz="2400" b="0" i="0" u="none" strike="noStrike" kern="0" cap="none" spc="85" normalizeH="0" baseline="0" noProof="0" dirty="0">
                <a:ln>
                  <a:noFill/>
                </a:ln>
                <a:solidFill>
                  <a:srgbClr val="FFFFFF"/>
                </a:solidFill>
                <a:effectLst/>
                <a:uLnTx/>
                <a:uFillTx/>
                <a:latin typeface="Calibri"/>
                <a:cs typeface="Calibri"/>
              </a:rPr>
              <a:t>C</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O</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75" normalizeH="0" baseline="0" noProof="0" dirty="0">
                <a:ln>
                  <a:noFill/>
                </a:ln>
                <a:solidFill>
                  <a:srgbClr val="FFFFFF"/>
                </a:solidFill>
                <a:effectLst/>
                <a:uLnTx/>
                <a:uFillTx/>
                <a:latin typeface="Calibri"/>
                <a:cs typeface="Calibri"/>
              </a:rPr>
              <a:t>F</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O</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U</a:t>
            </a:r>
            <a:r>
              <a:rPr kumimoji="0" sz="2400" b="0" i="0" u="none" strike="noStrike" kern="0" cap="none" spc="-145"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N</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D</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80" normalizeH="0" baseline="0" noProof="0" dirty="0">
                <a:ln>
                  <a:noFill/>
                </a:ln>
                <a:solidFill>
                  <a:srgbClr val="FFFFFF"/>
                </a:solidFill>
                <a:effectLst/>
                <a:uLnTx/>
                <a:uFillTx/>
                <a:latin typeface="Calibri"/>
                <a:cs typeface="Calibri"/>
              </a:rPr>
              <a:t>E</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15" normalizeH="0" baseline="0" noProof="0" dirty="0">
                <a:ln>
                  <a:noFill/>
                </a:ln>
                <a:solidFill>
                  <a:srgbClr val="FFFFFF"/>
                </a:solidFill>
                <a:effectLst/>
                <a:uLnTx/>
                <a:uFillTx/>
                <a:latin typeface="Calibri"/>
                <a:cs typeface="Calibri"/>
              </a:rPr>
              <a:t>R </a:t>
            </a:r>
            <a:r>
              <a:rPr kumimoji="0" sz="2400" b="0" i="0" u="none" strike="noStrike" kern="0" cap="none" spc="100" normalizeH="0" baseline="0" noProof="0" dirty="0">
                <a:ln>
                  <a:noFill/>
                </a:ln>
                <a:solidFill>
                  <a:srgbClr val="FFFFFF"/>
                </a:solidFill>
                <a:effectLst/>
                <a:uLnTx/>
                <a:uFillTx/>
                <a:latin typeface="Calibri"/>
                <a:cs typeface="Calibri"/>
              </a:rPr>
              <a:t>B</a:t>
            </a:r>
            <a:r>
              <a:rPr kumimoji="0" sz="2400" b="0" i="0" u="none" strike="noStrike" kern="0" cap="none" spc="-14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I</a:t>
            </a:r>
            <a:r>
              <a:rPr kumimoji="0" sz="2400" b="0" i="0" u="none" strike="noStrike" kern="0" cap="none" spc="-135" normalizeH="0" baseline="0" noProof="0" dirty="0">
                <a:ln>
                  <a:noFill/>
                </a:ln>
                <a:solidFill>
                  <a:srgbClr val="FFFFFF"/>
                </a:solidFill>
                <a:effectLst/>
                <a:uLnTx/>
                <a:uFillTx/>
                <a:latin typeface="Calibri"/>
                <a:cs typeface="Calibri"/>
              </a:rPr>
              <a:t> </a:t>
            </a:r>
            <a:r>
              <a:rPr kumimoji="0" sz="2400" b="0" i="0" u="none" strike="noStrike" kern="0" cap="none" spc="65" normalizeH="0" baseline="0" noProof="0" dirty="0">
                <a:ln>
                  <a:noFill/>
                </a:ln>
                <a:solidFill>
                  <a:srgbClr val="FFFFFF"/>
                </a:solidFill>
                <a:effectLst/>
                <a:uLnTx/>
                <a:uFillTx/>
                <a:latin typeface="Calibri"/>
                <a:cs typeface="Calibri"/>
              </a:rPr>
              <a:t>R</a:t>
            </a:r>
            <a:r>
              <a:rPr kumimoji="0" sz="2400" b="0" i="0" u="none" strike="noStrike" kern="0" cap="none" spc="-140" normalizeH="0" baseline="0" noProof="0" dirty="0">
                <a:ln>
                  <a:noFill/>
                </a:ln>
                <a:solidFill>
                  <a:srgbClr val="FFFFFF"/>
                </a:solidFill>
                <a:effectLst/>
                <a:uLnTx/>
                <a:uFillTx/>
                <a:latin typeface="Calibri"/>
                <a:cs typeface="Calibri"/>
              </a:rPr>
              <a:t> </a:t>
            </a:r>
            <a:r>
              <a:rPr kumimoji="0" sz="2400" b="0" i="0" u="none" strike="noStrike" kern="0" cap="none" spc="105" normalizeH="0" baseline="0" noProof="0" dirty="0">
                <a:ln>
                  <a:noFill/>
                </a:ln>
                <a:solidFill>
                  <a:srgbClr val="FFFFFF"/>
                </a:solidFill>
                <a:effectLst/>
                <a:uLnTx/>
                <a:uFillTx/>
                <a:latin typeface="Calibri"/>
                <a:cs typeface="Calibri"/>
              </a:rPr>
              <a:t>T</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10" normalizeH="0" baseline="0" noProof="0" dirty="0">
                <a:ln>
                  <a:noFill/>
                </a:ln>
                <a:solidFill>
                  <a:srgbClr val="FFFFFF"/>
                </a:solidFill>
                <a:effectLst/>
                <a:uLnTx/>
                <a:uFillTx/>
                <a:latin typeface="Calibri"/>
                <a:cs typeface="Calibri"/>
              </a:rPr>
              <a:t>H</a:t>
            </a:r>
            <a:r>
              <a:rPr kumimoji="0" sz="2400" b="0" i="0" u="none" strike="noStrike" kern="0" cap="none" spc="0" normalizeH="0" baseline="0" noProof="0" dirty="0">
                <a:ln>
                  <a:noFill/>
                </a:ln>
                <a:solidFill>
                  <a:srgbClr val="FFFFFF"/>
                </a:solidFill>
                <a:effectLst/>
                <a:uLnTx/>
                <a:uFillTx/>
                <a:latin typeface="Calibri"/>
                <a:cs typeface="Calibri"/>
              </a:rPr>
              <a:t>	</a:t>
            </a:r>
            <a:r>
              <a:rPr kumimoji="0" sz="2400" b="0" i="0" u="none" strike="noStrike" kern="0" cap="none" spc="110" normalizeH="0" baseline="0" noProof="0" dirty="0">
                <a:ln>
                  <a:noFill/>
                </a:ln>
                <a:solidFill>
                  <a:srgbClr val="FFFFFF"/>
                </a:solidFill>
                <a:effectLst/>
                <a:uLnTx/>
                <a:uFillTx/>
                <a:latin typeface="Calibri"/>
                <a:cs typeface="Calibri"/>
              </a:rPr>
              <a:t>P</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90" normalizeH="0" baseline="0" noProof="0" dirty="0">
                <a:ln>
                  <a:noFill/>
                </a:ln>
                <a:solidFill>
                  <a:srgbClr val="FFFFFF"/>
                </a:solidFill>
                <a:effectLst/>
                <a:uLnTx/>
                <a:uFillTx/>
                <a:latin typeface="Calibri"/>
                <a:cs typeface="Calibri"/>
              </a:rPr>
              <a:t>A</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65" normalizeH="0" baseline="0" noProof="0" dirty="0">
                <a:ln>
                  <a:noFill/>
                </a:ln>
                <a:solidFill>
                  <a:srgbClr val="FFFFFF"/>
                </a:solidFill>
                <a:effectLst/>
                <a:uLnTx/>
                <a:uFillTx/>
                <a:latin typeface="Calibri"/>
                <a:cs typeface="Calibri"/>
              </a:rPr>
              <a:t>R</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105" normalizeH="0" baseline="0" noProof="0" dirty="0">
                <a:ln>
                  <a:noFill/>
                </a:ln>
                <a:solidFill>
                  <a:srgbClr val="FFFFFF"/>
                </a:solidFill>
                <a:effectLst/>
                <a:uLnTx/>
                <a:uFillTx/>
                <a:latin typeface="Calibri"/>
                <a:cs typeface="Calibri"/>
              </a:rPr>
              <a:t>T</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N</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80" normalizeH="0" baseline="0" noProof="0" dirty="0">
                <a:ln>
                  <a:noFill/>
                </a:ln>
                <a:solidFill>
                  <a:srgbClr val="FFFFFF"/>
                </a:solidFill>
                <a:effectLst/>
                <a:uLnTx/>
                <a:uFillTx/>
                <a:latin typeface="Calibri"/>
                <a:cs typeface="Calibri"/>
              </a:rPr>
              <a:t>E</a:t>
            </a:r>
            <a:r>
              <a:rPr kumimoji="0" sz="2400" b="0" i="0" u="none" strike="noStrike" kern="0" cap="none" spc="-155" normalizeH="0" baseline="0" noProof="0" dirty="0">
                <a:ln>
                  <a:noFill/>
                </a:ln>
                <a:solidFill>
                  <a:srgbClr val="FFFFFF"/>
                </a:solidFill>
                <a:effectLst/>
                <a:uLnTx/>
                <a:uFillTx/>
                <a:latin typeface="Calibri"/>
                <a:cs typeface="Calibri"/>
              </a:rPr>
              <a:t> </a:t>
            </a:r>
            <a:r>
              <a:rPr kumimoji="0" sz="2400" b="0" i="0" u="none" strike="noStrike" kern="0" cap="none" spc="65" normalizeH="0" baseline="0" noProof="0" dirty="0">
                <a:ln>
                  <a:noFill/>
                </a:ln>
                <a:solidFill>
                  <a:srgbClr val="FFFFFF"/>
                </a:solidFill>
                <a:effectLst/>
                <a:uLnTx/>
                <a:uFillTx/>
                <a:latin typeface="Calibri"/>
                <a:cs typeface="Calibri"/>
              </a:rPr>
              <a:t>R</a:t>
            </a:r>
            <a:r>
              <a:rPr kumimoji="0" sz="2400" b="0" i="0" u="none" strike="noStrike" kern="0" cap="none" spc="-145" normalizeH="0" baseline="0" noProof="0" dirty="0">
                <a:ln>
                  <a:noFill/>
                </a:ln>
                <a:solidFill>
                  <a:srgbClr val="FFFFFF"/>
                </a:solidFill>
                <a:effectLst/>
                <a:uLnTx/>
                <a:uFillTx/>
                <a:latin typeface="Calibri"/>
                <a:cs typeface="Calibri"/>
              </a:rPr>
              <a:t> </a:t>
            </a:r>
            <a:r>
              <a:rPr kumimoji="0" sz="2400" b="0" i="0" u="none" strike="noStrike" kern="0" cap="none" spc="175" normalizeH="0" baseline="0" noProof="0" dirty="0">
                <a:ln>
                  <a:noFill/>
                </a:ln>
                <a:solidFill>
                  <a:srgbClr val="FFFFFF"/>
                </a:solidFill>
                <a:effectLst/>
                <a:uLnTx/>
                <a:uFillTx/>
                <a:latin typeface="Calibri"/>
                <a:cs typeface="Calibri"/>
              </a:rPr>
              <a:t>S</a:t>
            </a:r>
            <a:r>
              <a:rPr kumimoji="0" sz="2400" b="0" i="0" u="none" strike="noStrike" kern="0" cap="none" spc="-150" normalizeH="0" baseline="0" noProof="0" dirty="0">
                <a:ln>
                  <a:noFill/>
                </a:ln>
                <a:solidFill>
                  <a:srgbClr val="FFFFFF"/>
                </a:solidFill>
                <a:effectLst/>
                <a:uLnTx/>
                <a:uFillTx/>
                <a:latin typeface="Calibri"/>
                <a:cs typeface="Calibri"/>
              </a:rPr>
              <a:t> </a:t>
            </a:r>
            <a:r>
              <a:rPr kumimoji="0" sz="2400" b="0" i="0" u="none" strike="noStrike" kern="0" cap="none" spc="-50" normalizeH="0" baseline="0" noProof="0" dirty="0">
                <a:ln>
                  <a:noFill/>
                </a:ln>
                <a:solidFill>
                  <a:srgbClr val="FFFFFF"/>
                </a:solidFill>
                <a:effectLst/>
                <a:uLnTx/>
                <a:uFillTx/>
                <a:latin typeface="Calibri"/>
                <a:cs typeface="Calibri"/>
              </a:rPr>
              <a:t>,</a:t>
            </a:r>
            <a:r>
              <a:rPr kumimoji="0" sz="2400" b="0" i="0" u="none" strike="noStrike" kern="0" cap="none" spc="0" normalizeH="0" baseline="0" noProof="0" dirty="0">
                <a:ln>
                  <a:noFill/>
                </a:ln>
                <a:solidFill>
                  <a:srgbClr val="FFFFFF"/>
                </a:solidFill>
                <a:effectLst/>
                <a:uLnTx/>
                <a:uFillTx/>
                <a:latin typeface="Calibri"/>
                <a:cs typeface="Calibri"/>
              </a:rPr>
              <a:t>		I</a:t>
            </a:r>
            <a:r>
              <a:rPr kumimoji="0" sz="2400" b="0" i="0" u="none" strike="noStrike" kern="0" cap="none" spc="-130"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N</a:t>
            </a:r>
            <a:r>
              <a:rPr kumimoji="0" sz="2400" b="0" i="0" u="none" strike="noStrike" kern="0" cap="none" spc="-140" normalizeH="0" baseline="0" noProof="0" dirty="0">
                <a:ln>
                  <a:noFill/>
                </a:ln>
                <a:solidFill>
                  <a:srgbClr val="FFFFFF"/>
                </a:solidFill>
                <a:effectLst/>
                <a:uLnTx/>
                <a:uFillTx/>
                <a:latin typeface="Calibri"/>
                <a:cs typeface="Calibri"/>
              </a:rPr>
              <a:t> </a:t>
            </a:r>
            <a:r>
              <a:rPr kumimoji="0" sz="2400" b="0" i="0" u="none" strike="noStrike" kern="0" cap="none" spc="35" normalizeH="0" baseline="0" noProof="0" dirty="0">
                <a:ln>
                  <a:noFill/>
                </a:ln>
                <a:solidFill>
                  <a:srgbClr val="FFFFFF"/>
                </a:solidFill>
                <a:effectLst/>
                <a:uLnTx/>
                <a:uFillTx/>
                <a:latin typeface="Calibri"/>
                <a:cs typeface="Calibri"/>
              </a:rPr>
              <a:t>C</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5167884" y="5695188"/>
            <a:ext cx="1551432" cy="1042413"/>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4491228" y="3790188"/>
            <a:ext cx="3721608" cy="2237232"/>
          </a:xfrm>
          <a:prstGeom prst="rect">
            <a:avLst/>
          </a:prstGeom>
        </p:spPr>
      </p:pic>
      <p:pic>
        <p:nvPicPr>
          <p:cNvPr id="3" name="object 3"/>
          <p:cNvPicPr/>
          <p:nvPr/>
        </p:nvPicPr>
        <p:blipFill>
          <a:blip r:embed="rId3" cstate="print"/>
          <a:stretch>
            <a:fillRect/>
          </a:stretch>
        </p:blipFill>
        <p:spPr>
          <a:xfrm>
            <a:off x="265175" y="3825240"/>
            <a:ext cx="3236976" cy="2202180"/>
          </a:xfrm>
          <a:prstGeom prst="rect">
            <a:avLst/>
          </a:prstGeom>
        </p:spPr>
      </p:pic>
      <p:sp>
        <p:nvSpPr>
          <p:cNvPr id="4" name="object 4"/>
          <p:cNvSpPr txBox="1">
            <a:spLocks noGrp="1"/>
          </p:cNvSpPr>
          <p:nvPr>
            <p:ph type="title"/>
          </p:nvPr>
        </p:nvSpPr>
        <p:spPr>
          <a:xfrm>
            <a:off x="1003198" y="339979"/>
            <a:ext cx="2075814" cy="589280"/>
          </a:xfrm>
          <a:prstGeom prst="rect">
            <a:avLst/>
          </a:prstGeom>
        </p:spPr>
        <p:txBody>
          <a:bodyPr vert="horz" wrap="square" lIns="0" tIns="12065" rIns="0" bIns="0" rtlCol="0">
            <a:spAutoFit/>
          </a:bodyPr>
          <a:lstStyle/>
          <a:p>
            <a:pPr marL="12700">
              <a:lnSpc>
                <a:spcPct val="100000"/>
              </a:lnSpc>
              <a:spcBef>
                <a:spcPts val="95"/>
              </a:spcBef>
              <a:tabLst>
                <a:tab pos="485775" algn="l"/>
                <a:tab pos="817880" algn="l"/>
                <a:tab pos="1295400" algn="l"/>
                <a:tab pos="1746250" algn="l"/>
              </a:tabLst>
            </a:pPr>
            <a:r>
              <a:rPr sz="3700" b="1" spc="95" dirty="0">
                <a:latin typeface="Calibri"/>
                <a:cs typeface="Calibri"/>
              </a:rPr>
              <a:t>B</a:t>
            </a:r>
            <a:r>
              <a:rPr sz="3700" b="1" dirty="0">
                <a:latin typeface="Calibri"/>
                <a:cs typeface="Calibri"/>
              </a:rPr>
              <a:t>	</a:t>
            </a:r>
            <a:r>
              <a:rPr sz="3700" b="1" spc="65" dirty="0">
                <a:latin typeface="Calibri"/>
                <a:cs typeface="Calibri"/>
              </a:rPr>
              <a:t>I</a:t>
            </a:r>
            <a:r>
              <a:rPr sz="3700" b="1" dirty="0">
                <a:latin typeface="Calibri"/>
                <a:cs typeface="Calibri"/>
              </a:rPr>
              <a:t>	</a:t>
            </a:r>
            <a:r>
              <a:rPr sz="3700" b="1" spc="114" dirty="0">
                <a:latin typeface="Calibri"/>
                <a:cs typeface="Calibri"/>
              </a:rPr>
              <a:t>R</a:t>
            </a:r>
            <a:r>
              <a:rPr sz="3700" b="1" dirty="0">
                <a:latin typeface="Calibri"/>
                <a:cs typeface="Calibri"/>
              </a:rPr>
              <a:t>	</a:t>
            </a:r>
            <a:r>
              <a:rPr sz="3700" b="1" spc="150" dirty="0">
                <a:latin typeface="Calibri"/>
                <a:cs typeface="Calibri"/>
              </a:rPr>
              <a:t>T</a:t>
            </a:r>
            <a:r>
              <a:rPr sz="3700" b="1" dirty="0">
                <a:latin typeface="Calibri"/>
                <a:cs typeface="Calibri"/>
              </a:rPr>
              <a:t>	</a:t>
            </a:r>
            <a:r>
              <a:rPr sz="3700" b="1" spc="90" dirty="0">
                <a:latin typeface="Calibri"/>
                <a:cs typeface="Calibri"/>
              </a:rPr>
              <a:t>H</a:t>
            </a:r>
            <a:endParaRPr sz="3700">
              <a:latin typeface="Calibri"/>
              <a:cs typeface="Calibri"/>
            </a:endParaRPr>
          </a:p>
        </p:txBody>
      </p:sp>
      <p:pic>
        <p:nvPicPr>
          <p:cNvPr id="5" name="object 5"/>
          <p:cNvPicPr/>
          <p:nvPr/>
        </p:nvPicPr>
        <p:blipFill>
          <a:blip r:embed="rId4" cstate="print"/>
          <a:stretch>
            <a:fillRect/>
          </a:stretch>
        </p:blipFill>
        <p:spPr>
          <a:xfrm>
            <a:off x="8673083" y="4317491"/>
            <a:ext cx="3416808" cy="2161032"/>
          </a:xfrm>
          <a:prstGeom prst="rect">
            <a:avLst/>
          </a:prstGeom>
        </p:spPr>
      </p:pic>
      <p:sp>
        <p:nvSpPr>
          <p:cNvPr id="6" name="object 6"/>
          <p:cNvSpPr txBox="1"/>
          <p:nvPr/>
        </p:nvSpPr>
        <p:spPr>
          <a:xfrm>
            <a:off x="3528527" y="339979"/>
            <a:ext cx="7919720" cy="291211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tab pos="474980" algn="l"/>
                <a:tab pos="922655" algn="l"/>
                <a:tab pos="1424940" algn="l"/>
                <a:tab pos="1875789" algn="l"/>
                <a:tab pos="2323465" algn="l"/>
                <a:tab pos="2801620" algn="l"/>
                <a:tab pos="3538220" algn="l"/>
                <a:tab pos="4049395" algn="l"/>
                <a:tab pos="4768215" algn="l"/>
                <a:tab pos="5100320" algn="l"/>
                <a:tab pos="5534025" algn="l"/>
                <a:tab pos="5967730" algn="l"/>
                <a:tab pos="6299200" algn="l"/>
                <a:tab pos="6801484" algn="l"/>
                <a:tab pos="7313295" algn="l"/>
                <a:tab pos="7645400" algn="l"/>
              </a:tabLst>
              <a:defRPr/>
            </a:pPr>
            <a:r>
              <a:rPr kumimoji="0" sz="3700" b="1" i="0" u="none" strike="noStrike" kern="0" cap="none" spc="125" normalizeH="0" baseline="0" noProof="0" dirty="0">
                <a:ln>
                  <a:noFill/>
                </a:ln>
                <a:solidFill>
                  <a:srgbClr val="FFFFFF"/>
                </a:solidFill>
                <a:effectLst/>
                <a:uLnTx/>
                <a:uFillTx/>
                <a:latin typeface="Calibri"/>
                <a:cs typeface="Calibri"/>
              </a:rPr>
              <a:t>C</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165" normalizeH="0" baseline="0" noProof="0" dirty="0">
                <a:ln>
                  <a:noFill/>
                </a:ln>
                <a:solidFill>
                  <a:srgbClr val="FFFFFF"/>
                </a:solidFill>
                <a:effectLst/>
                <a:uLnTx/>
                <a:uFillTx/>
                <a:latin typeface="Calibri"/>
                <a:cs typeface="Calibri"/>
              </a:rPr>
              <a:t>E</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50" normalizeH="0" baseline="0" noProof="0" dirty="0">
                <a:ln>
                  <a:noFill/>
                </a:ln>
                <a:solidFill>
                  <a:srgbClr val="FFFFFF"/>
                </a:solidFill>
                <a:effectLst/>
                <a:uLnTx/>
                <a:uFillTx/>
                <a:latin typeface="Calibri"/>
                <a:cs typeface="Calibri"/>
              </a:rPr>
              <a:t>N</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150" normalizeH="0" baseline="0" noProof="0" dirty="0">
                <a:ln>
                  <a:noFill/>
                </a:ln>
                <a:solidFill>
                  <a:srgbClr val="FFFFFF"/>
                </a:solidFill>
                <a:effectLst/>
                <a:uLnTx/>
                <a:uFillTx/>
                <a:latin typeface="Calibri"/>
                <a:cs typeface="Calibri"/>
              </a:rPr>
              <a:t>T</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165" normalizeH="0" baseline="0" noProof="0" dirty="0">
                <a:ln>
                  <a:noFill/>
                </a:ln>
                <a:solidFill>
                  <a:srgbClr val="FFFFFF"/>
                </a:solidFill>
                <a:effectLst/>
                <a:uLnTx/>
                <a:uFillTx/>
                <a:latin typeface="Calibri"/>
                <a:cs typeface="Calibri"/>
              </a:rPr>
              <a:t>E</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114" normalizeH="0" baseline="0" noProof="0" dirty="0">
                <a:ln>
                  <a:noFill/>
                </a:ln>
                <a:solidFill>
                  <a:srgbClr val="FFFFFF"/>
                </a:solidFill>
                <a:effectLst/>
                <a:uLnTx/>
                <a:uFillTx/>
                <a:latin typeface="Calibri"/>
                <a:cs typeface="Calibri"/>
              </a:rPr>
              <a:t>R</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245" normalizeH="0" baseline="0" noProof="0" dirty="0">
                <a:ln>
                  <a:noFill/>
                </a:ln>
                <a:solidFill>
                  <a:srgbClr val="FFFFFF"/>
                </a:solidFill>
                <a:effectLst/>
                <a:uLnTx/>
                <a:uFillTx/>
                <a:latin typeface="Calibri"/>
                <a:cs typeface="Calibri"/>
              </a:rPr>
              <a:t>S</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50" normalizeH="0" baseline="0" noProof="0" dirty="0">
                <a:ln>
                  <a:noFill/>
                </a:ln>
                <a:solidFill>
                  <a:srgbClr val="FFFFFF"/>
                </a:solidFill>
                <a:effectLst/>
                <a:uLnTx/>
                <a:uFillTx/>
                <a:latin typeface="Calibri"/>
                <a:cs typeface="Calibri"/>
              </a:rPr>
              <a:t>O</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170" normalizeH="0" baseline="0" noProof="0" dirty="0">
                <a:ln>
                  <a:noFill/>
                </a:ln>
                <a:solidFill>
                  <a:srgbClr val="FFFFFF"/>
                </a:solidFill>
                <a:effectLst/>
                <a:uLnTx/>
                <a:uFillTx/>
                <a:latin typeface="Calibri"/>
                <a:cs typeface="Calibri"/>
              </a:rPr>
              <a:t>F</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65" normalizeH="0" baseline="0" noProof="0" dirty="0">
                <a:ln>
                  <a:noFill/>
                </a:ln>
                <a:solidFill>
                  <a:srgbClr val="FFFFFF"/>
                </a:solidFill>
                <a:effectLst/>
                <a:uLnTx/>
                <a:uFillTx/>
                <a:latin typeface="Calibri"/>
                <a:cs typeface="Calibri"/>
              </a:rPr>
              <a:t>I</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290" normalizeH="0" baseline="0" noProof="0" dirty="0">
                <a:ln>
                  <a:noFill/>
                </a:ln>
                <a:solidFill>
                  <a:srgbClr val="FFFFFF"/>
                </a:solidFill>
                <a:effectLst/>
                <a:uLnTx/>
                <a:uFillTx/>
                <a:latin typeface="Calibri"/>
                <a:cs typeface="Calibri"/>
              </a:rPr>
              <a:t>L</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290" normalizeH="0" baseline="0" noProof="0" dirty="0">
                <a:ln>
                  <a:noFill/>
                </a:ln>
                <a:solidFill>
                  <a:srgbClr val="FFFFFF"/>
                </a:solidFill>
                <a:effectLst/>
                <a:uLnTx/>
                <a:uFillTx/>
                <a:latin typeface="Calibri"/>
                <a:cs typeface="Calibri"/>
              </a:rPr>
              <a:t>L</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65" normalizeH="0" baseline="0" noProof="0" dirty="0">
                <a:ln>
                  <a:noFill/>
                </a:ln>
                <a:solidFill>
                  <a:srgbClr val="FFFFFF"/>
                </a:solidFill>
                <a:effectLst/>
                <a:uLnTx/>
                <a:uFillTx/>
                <a:latin typeface="Calibri"/>
                <a:cs typeface="Calibri"/>
              </a:rPr>
              <a:t>I</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50" normalizeH="0" baseline="0" noProof="0" dirty="0">
                <a:ln>
                  <a:noFill/>
                </a:ln>
                <a:solidFill>
                  <a:srgbClr val="FFFFFF"/>
                </a:solidFill>
                <a:effectLst/>
                <a:uLnTx/>
                <a:uFillTx/>
                <a:latin typeface="Calibri"/>
                <a:cs typeface="Calibri"/>
              </a:rPr>
              <a:t>N</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50" normalizeH="0" baseline="0" noProof="0" dirty="0">
                <a:ln>
                  <a:noFill/>
                </a:ln>
                <a:solidFill>
                  <a:srgbClr val="FFFFFF"/>
                </a:solidFill>
                <a:effectLst/>
                <a:uLnTx/>
                <a:uFillTx/>
                <a:latin typeface="Calibri"/>
                <a:cs typeface="Calibri"/>
              </a:rPr>
              <a:t>O</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65" normalizeH="0" baseline="0" noProof="0" dirty="0">
                <a:ln>
                  <a:noFill/>
                </a:ln>
                <a:solidFill>
                  <a:srgbClr val="FFFFFF"/>
                </a:solidFill>
                <a:effectLst/>
                <a:uLnTx/>
                <a:uFillTx/>
                <a:latin typeface="Calibri"/>
                <a:cs typeface="Calibri"/>
              </a:rPr>
              <a:t>I</a:t>
            </a:r>
            <a:r>
              <a:rPr kumimoji="0" sz="3700" b="1" i="0" u="none" strike="noStrike" kern="0" cap="none" spc="0" normalizeH="0" baseline="0" noProof="0" dirty="0">
                <a:ln>
                  <a:noFill/>
                </a:ln>
                <a:solidFill>
                  <a:srgbClr val="FFFFFF"/>
                </a:solidFill>
                <a:effectLst/>
                <a:uLnTx/>
                <a:uFillTx/>
                <a:latin typeface="Calibri"/>
                <a:cs typeface="Calibri"/>
              </a:rPr>
              <a:t>	</a:t>
            </a:r>
            <a:r>
              <a:rPr kumimoji="0" sz="3700" b="1" i="0" u="none" strike="noStrike" kern="0" cap="none" spc="245" normalizeH="0" baseline="0" noProof="0" dirty="0">
                <a:ln>
                  <a:noFill/>
                </a:ln>
                <a:solidFill>
                  <a:srgbClr val="FFFFFF"/>
                </a:solidFill>
                <a:effectLst/>
                <a:uLnTx/>
                <a:uFillTx/>
                <a:latin typeface="Calibri"/>
                <a:cs typeface="Calibri"/>
              </a:rPr>
              <a:t>S</a:t>
            </a:r>
            <a:endParaRPr kumimoji="0" sz="3700" b="0" i="0" u="none" strike="noStrike" kern="0" cap="none" spc="0" normalizeH="0" baseline="0" noProof="0">
              <a:ln>
                <a:noFill/>
              </a:ln>
              <a:solidFill>
                <a:sysClr val="windowText" lastClr="000000"/>
              </a:solidFill>
              <a:effectLst/>
              <a:uLnTx/>
              <a:uFillTx/>
              <a:latin typeface="Calibri"/>
              <a:cs typeface="Calibri"/>
            </a:endParaRPr>
          </a:p>
          <a:p>
            <a:pPr marL="0" marR="1862455" lvl="0" indent="0" algn="ctr" defTabSz="914400" eaLnBrk="1" fontAlgn="auto" latinLnBrk="0" hangingPunct="1">
              <a:lnSpc>
                <a:spcPct val="100000"/>
              </a:lnSpc>
              <a:spcBef>
                <a:spcPts val="3290"/>
              </a:spcBef>
              <a:spcAft>
                <a:spcPts val="0"/>
              </a:spcAft>
              <a:buClrTx/>
              <a:buSzTx/>
              <a:buFontTx/>
              <a:buNone/>
              <a:tabLst/>
              <a:defRPr/>
            </a:pPr>
            <a:r>
              <a:rPr kumimoji="0" sz="2500" b="0" i="0" u="none" strike="noStrike" kern="0" cap="none" spc="0" normalizeH="0" baseline="0" noProof="0" dirty="0">
                <a:ln>
                  <a:noFill/>
                </a:ln>
                <a:solidFill>
                  <a:srgbClr val="FFFFFF"/>
                </a:solidFill>
                <a:effectLst/>
                <a:uLnTx/>
                <a:uFillTx/>
                <a:latin typeface="Calibri"/>
                <a:cs typeface="Calibri"/>
              </a:rPr>
              <a:t>Birth</a:t>
            </a:r>
            <a:r>
              <a:rPr kumimoji="0" sz="2500" b="0" i="0" u="none" strike="noStrike" kern="0" cap="none" spc="55"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Center</a:t>
            </a:r>
            <a:r>
              <a:rPr kumimoji="0" sz="2500" b="0" i="0" u="none" strike="noStrike" kern="0" cap="none" spc="25"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at</a:t>
            </a:r>
            <a:r>
              <a:rPr kumimoji="0" sz="2500" b="0" i="0" u="none" strike="noStrike" kern="0" cap="none" spc="40" normalizeH="0" baseline="0" noProof="0" dirty="0">
                <a:ln>
                  <a:noFill/>
                </a:ln>
                <a:solidFill>
                  <a:srgbClr val="FFFFFF"/>
                </a:solidFill>
                <a:effectLst/>
                <a:uLnTx/>
                <a:uFillTx/>
                <a:latin typeface="Calibri"/>
                <a:cs typeface="Calibri"/>
              </a:rPr>
              <a:t> </a:t>
            </a:r>
            <a:r>
              <a:rPr kumimoji="0" sz="2500" b="0" i="0" u="none" strike="noStrike" kern="0" cap="none" spc="70" normalizeH="0" baseline="0" noProof="0" dirty="0">
                <a:ln>
                  <a:noFill/>
                </a:ln>
                <a:solidFill>
                  <a:srgbClr val="FFFFFF"/>
                </a:solidFill>
                <a:effectLst/>
                <a:uLnTx/>
                <a:uFillTx/>
                <a:latin typeface="Calibri"/>
                <a:cs typeface="Calibri"/>
              </a:rPr>
              <a:t>PCC</a:t>
            </a:r>
            <a:endParaRPr kumimoji="0" sz="2500" b="0" i="0" u="none" strike="noStrike" kern="0" cap="none" spc="0" normalizeH="0" baseline="0" noProof="0">
              <a:ln>
                <a:noFill/>
              </a:ln>
              <a:solidFill>
                <a:sysClr val="windowText" lastClr="000000"/>
              </a:solidFill>
              <a:effectLst/>
              <a:uLnTx/>
              <a:uFillTx/>
              <a:latin typeface="Calibri"/>
              <a:cs typeface="Calibri"/>
            </a:endParaRPr>
          </a:p>
          <a:p>
            <a:pPr marL="579120" marR="2444750" lvl="0" indent="0" algn="ctr" defTabSz="914400" eaLnBrk="1" fontAlgn="auto" latinLnBrk="0" hangingPunct="1">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srgbClr val="FFFFFF"/>
                </a:solidFill>
                <a:effectLst/>
                <a:uLnTx/>
                <a:uFillTx/>
                <a:latin typeface="Calibri"/>
                <a:cs typeface="Calibri"/>
              </a:rPr>
              <a:t>Birth</a:t>
            </a:r>
            <a:r>
              <a:rPr kumimoji="0" sz="2500" b="0" i="0" u="none" strike="noStrike" kern="0" cap="none" spc="145"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Center</a:t>
            </a:r>
            <a:r>
              <a:rPr kumimoji="0" sz="2500" b="0" i="0" u="none" strike="noStrike" kern="0" cap="none" spc="114"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of</a:t>
            </a:r>
            <a:r>
              <a:rPr kumimoji="0" sz="2500" b="0" i="0" u="none" strike="noStrike" kern="0" cap="none" spc="110"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Bloomington-</a:t>
            </a:r>
            <a:r>
              <a:rPr kumimoji="0" sz="2500" b="0" i="0" u="none" strike="noStrike" kern="0" cap="none" spc="-10" normalizeH="0" baseline="0" noProof="0" dirty="0">
                <a:ln>
                  <a:noFill/>
                </a:ln>
                <a:solidFill>
                  <a:srgbClr val="FFFFFF"/>
                </a:solidFill>
                <a:effectLst/>
                <a:uLnTx/>
                <a:uFillTx/>
                <a:latin typeface="Calibri"/>
                <a:cs typeface="Calibri"/>
              </a:rPr>
              <a:t>Normal </a:t>
            </a:r>
            <a:r>
              <a:rPr kumimoji="0" sz="2500" b="0" i="0" u="none" strike="noStrike" kern="0" cap="none" spc="0" normalizeH="0" baseline="0" noProof="0" dirty="0">
                <a:ln>
                  <a:noFill/>
                </a:ln>
                <a:solidFill>
                  <a:srgbClr val="FFFFFF"/>
                </a:solidFill>
                <a:effectLst/>
                <a:uLnTx/>
                <a:uFillTx/>
                <a:latin typeface="Calibri"/>
                <a:cs typeface="Calibri"/>
              </a:rPr>
              <a:t>Burr</a:t>
            </a:r>
            <a:r>
              <a:rPr kumimoji="0" sz="2500" b="0" i="0" u="none" strike="noStrike" kern="0" cap="none" spc="80"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Ridge</a:t>
            </a:r>
            <a:r>
              <a:rPr kumimoji="0" sz="2500" b="0" i="0" u="none" strike="noStrike" kern="0" cap="none" spc="85"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Birth</a:t>
            </a:r>
            <a:r>
              <a:rPr kumimoji="0" sz="2500" b="0" i="0" u="none" strike="noStrike" kern="0" cap="none" spc="95" normalizeH="0" baseline="0" noProof="0" dirty="0">
                <a:ln>
                  <a:noFill/>
                </a:ln>
                <a:solidFill>
                  <a:srgbClr val="FFFFFF"/>
                </a:solidFill>
                <a:effectLst/>
                <a:uLnTx/>
                <a:uFillTx/>
                <a:latin typeface="Calibri"/>
                <a:cs typeface="Calibri"/>
              </a:rPr>
              <a:t> </a:t>
            </a:r>
            <a:r>
              <a:rPr kumimoji="0" sz="2500" b="0" i="0" u="none" strike="noStrike" kern="0" cap="none" spc="-10" normalizeH="0" baseline="0" noProof="0" dirty="0">
                <a:ln>
                  <a:noFill/>
                </a:ln>
                <a:solidFill>
                  <a:srgbClr val="FFFFFF"/>
                </a:solidFill>
                <a:effectLst/>
                <a:uLnTx/>
                <a:uFillTx/>
                <a:latin typeface="Calibri"/>
                <a:cs typeface="Calibri"/>
              </a:rPr>
              <a:t>Center</a:t>
            </a:r>
            <a:endParaRPr kumimoji="0" sz="2500" b="0" i="0" u="none" strike="noStrike" kern="0" cap="none" spc="0" normalizeH="0" baseline="0" noProof="0">
              <a:ln>
                <a:noFill/>
              </a:ln>
              <a:solidFill>
                <a:sysClr val="windowText" lastClr="000000"/>
              </a:solidFill>
              <a:effectLst/>
              <a:uLnTx/>
              <a:uFillTx/>
              <a:latin typeface="Calibri"/>
              <a:cs typeface="Calibri"/>
            </a:endParaRPr>
          </a:p>
          <a:p>
            <a:pPr marL="1371600" marR="3238500" lvl="0" indent="-1270" algn="ctr" defTabSz="914400" eaLnBrk="1" fontAlgn="auto" latinLnBrk="0" hangingPunct="1">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srgbClr val="FFFFFF"/>
                </a:solidFill>
                <a:effectLst/>
                <a:uLnTx/>
                <a:uFillTx/>
                <a:latin typeface="Calibri"/>
                <a:cs typeface="Calibri"/>
              </a:rPr>
              <a:t>Birth</a:t>
            </a:r>
            <a:r>
              <a:rPr kumimoji="0" sz="2500" b="0" i="0" u="none" strike="noStrike" kern="0" cap="none" spc="20"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Center of</a:t>
            </a:r>
            <a:r>
              <a:rPr kumimoji="0" sz="2500" b="0" i="0" u="none" strike="noStrike" kern="0" cap="none" spc="-10" normalizeH="0" baseline="0" noProof="0" dirty="0">
                <a:ln>
                  <a:noFill/>
                </a:ln>
                <a:solidFill>
                  <a:srgbClr val="FFFFFF"/>
                </a:solidFill>
                <a:effectLst/>
                <a:uLnTx/>
                <a:uFillTx/>
                <a:latin typeface="Calibri"/>
                <a:cs typeface="Calibri"/>
              </a:rPr>
              <a:t> </a:t>
            </a:r>
            <a:r>
              <a:rPr kumimoji="0" sz="2500" b="0" i="0" u="none" strike="noStrike" kern="0" cap="none" spc="45" normalizeH="0" baseline="0" noProof="0" dirty="0">
                <a:ln>
                  <a:noFill/>
                </a:ln>
                <a:solidFill>
                  <a:srgbClr val="FFFFFF"/>
                </a:solidFill>
                <a:effectLst/>
                <a:uLnTx/>
                <a:uFillTx/>
                <a:latin typeface="Calibri"/>
                <a:cs typeface="Calibri"/>
              </a:rPr>
              <a:t>Chicago </a:t>
            </a:r>
            <a:r>
              <a:rPr kumimoji="0" sz="2500" b="0" i="0" u="none" strike="noStrike" kern="0" cap="none" spc="0" normalizeH="0" baseline="0" noProof="0" dirty="0">
                <a:ln>
                  <a:noFill/>
                </a:ln>
                <a:solidFill>
                  <a:srgbClr val="FFFFFF"/>
                </a:solidFill>
                <a:effectLst/>
                <a:uLnTx/>
                <a:uFillTx/>
                <a:latin typeface="Calibri"/>
                <a:cs typeface="Calibri"/>
              </a:rPr>
              <a:t>NorthPointe</a:t>
            </a:r>
            <a:r>
              <a:rPr kumimoji="0" sz="2500" b="0" i="0" u="none" strike="noStrike" kern="0" cap="none" spc="125" normalizeH="0" baseline="0" noProof="0" dirty="0">
                <a:ln>
                  <a:noFill/>
                </a:ln>
                <a:solidFill>
                  <a:srgbClr val="FFFFFF"/>
                </a:solidFill>
                <a:effectLst/>
                <a:uLnTx/>
                <a:uFillTx/>
                <a:latin typeface="Calibri"/>
                <a:cs typeface="Calibri"/>
              </a:rPr>
              <a:t> </a:t>
            </a:r>
            <a:r>
              <a:rPr kumimoji="0" sz="2500" b="0" i="0" u="none" strike="noStrike" kern="0" cap="none" spc="0" normalizeH="0" baseline="0" noProof="0" dirty="0">
                <a:ln>
                  <a:noFill/>
                </a:ln>
                <a:solidFill>
                  <a:srgbClr val="FFFFFF"/>
                </a:solidFill>
                <a:effectLst/>
                <a:uLnTx/>
                <a:uFillTx/>
                <a:latin typeface="Calibri"/>
                <a:cs typeface="Calibri"/>
              </a:rPr>
              <a:t>Birth</a:t>
            </a:r>
            <a:r>
              <a:rPr kumimoji="0" sz="2500" b="0" i="0" u="none" strike="noStrike" kern="0" cap="none" spc="145" normalizeH="0" baseline="0" noProof="0" dirty="0">
                <a:ln>
                  <a:noFill/>
                </a:ln>
                <a:solidFill>
                  <a:srgbClr val="FFFFFF"/>
                </a:solidFill>
                <a:effectLst/>
                <a:uLnTx/>
                <a:uFillTx/>
                <a:latin typeface="Calibri"/>
                <a:cs typeface="Calibri"/>
              </a:rPr>
              <a:t> </a:t>
            </a:r>
            <a:r>
              <a:rPr kumimoji="0" sz="2500" b="0" i="0" u="none" strike="noStrike" kern="0" cap="none" spc="-10" normalizeH="0" baseline="0" noProof="0" dirty="0">
                <a:ln>
                  <a:noFill/>
                </a:ln>
                <a:solidFill>
                  <a:srgbClr val="FFFFFF"/>
                </a:solidFill>
                <a:effectLst/>
                <a:uLnTx/>
                <a:uFillTx/>
                <a:latin typeface="Calibri"/>
                <a:cs typeface="Calibri"/>
              </a:rPr>
              <a:t>Center</a:t>
            </a:r>
            <a:endParaRPr kumimoji="0" sz="2500" b="0" i="0" u="none" strike="noStrike" kern="0" cap="none" spc="0" normalizeH="0" baseline="0" noProof="0">
              <a:ln>
                <a:noFill/>
              </a:ln>
              <a:solidFill>
                <a:sysClr val="windowText" lastClr="000000"/>
              </a:solidFill>
              <a:effectLst/>
              <a:uLnTx/>
              <a:uFillTx/>
              <a:latin typeface="Calibri"/>
              <a:cs typeface="Calibri"/>
            </a:endParaRPr>
          </a:p>
        </p:txBody>
      </p:sp>
      <p:pic>
        <p:nvPicPr>
          <p:cNvPr id="7" name="object 7"/>
          <p:cNvPicPr/>
          <p:nvPr/>
        </p:nvPicPr>
        <p:blipFill>
          <a:blip r:embed="rId5" cstate="print"/>
          <a:stretch>
            <a:fillRect/>
          </a:stretch>
        </p:blipFill>
        <p:spPr>
          <a:xfrm>
            <a:off x="9400031" y="1176527"/>
            <a:ext cx="2598420" cy="2252472"/>
          </a:xfrm>
          <a:prstGeom prst="rect">
            <a:avLst/>
          </a:prstGeom>
        </p:spPr>
      </p:pic>
      <p:pic>
        <p:nvPicPr>
          <p:cNvPr id="8" name="object 8"/>
          <p:cNvPicPr/>
          <p:nvPr/>
        </p:nvPicPr>
        <p:blipFill>
          <a:blip r:embed="rId6" cstate="print"/>
          <a:stretch>
            <a:fillRect/>
          </a:stretch>
        </p:blipFill>
        <p:spPr>
          <a:xfrm>
            <a:off x="266700" y="1176527"/>
            <a:ext cx="3229355" cy="2252472"/>
          </a:xfrm>
          <a:prstGeom prst="rect">
            <a:avLst/>
          </a:prstGeom>
        </p:spPr>
      </p:pic>
      <p:sp>
        <p:nvSpPr>
          <p:cNvPr id="9" name="object 9"/>
          <p:cNvSpPr txBox="1"/>
          <p:nvPr/>
        </p:nvSpPr>
        <p:spPr>
          <a:xfrm>
            <a:off x="5498972" y="6053124"/>
            <a:ext cx="1699895" cy="756920"/>
          </a:xfrm>
          <a:prstGeom prst="rect">
            <a:avLst/>
          </a:prstGeom>
        </p:spPr>
        <p:txBody>
          <a:bodyPr vert="horz" wrap="square" lIns="0" tIns="12700" rIns="0" bIns="0" rtlCol="0">
            <a:spAutoFit/>
          </a:bodyPr>
          <a:lstStyle/>
          <a:p>
            <a:pPr marL="116205" marR="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0" normalizeH="0" baseline="0" noProof="0" dirty="0">
                <a:ln>
                  <a:noFill/>
                </a:ln>
                <a:solidFill>
                  <a:srgbClr val="FFFFFF"/>
                </a:solidFill>
                <a:effectLst/>
                <a:uLnTx/>
                <a:uFillTx/>
                <a:latin typeface="Calibri"/>
                <a:cs typeface="Calibri"/>
              </a:rPr>
              <a:t>Burr</a:t>
            </a:r>
            <a:r>
              <a:rPr kumimoji="0" sz="1200" b="0" i="0" u="none" strike="noStrike" kern="0" cap="none" spc="45"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Ridge</a:t>
            </a:r>
            <a:r>
              <a:rPr kumimoji="0" sz="1200" b="0" i="0" u="none" strike="noStrike" kern="0" cap="none" spc="70"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Birth</a:t>
            </a:r>
            <a:r>
              <a:rPr kumimoji="0" sz="1200" b="0" i="0" u="none" strike="noStrike" kern="0" cap="none" spc="30" normalizeH="0" baseline="0" noProof="0" dirty="0">
                <a:ln>
                  <a:noFill/>
                </a:ln>
                <a:solidFill>
                  <a:srgbClr val="FFFFFF"/>
                </a:solidFill>
                <a:effectLst/>
                <a:uLnTx/>
                <a:uFillTx/>
                <a:latin typeface="Calibri"/>
                <a:cs typeface="Calibri"/>
              </a:rPr>
              <a:t> </a:t>
            </a:r>
            <a:r>
              <a:rPr kumimoji="0" sz="1200" b="0" i="0" u="none" strike="noStrike" kern="0" cap="none" spc="-10" normalizeH="0" baseline="0" noProof="0" dirty="0">
                <a:ln>
                  <a:noFill/>
                </a:ln>
                <a:solidFill>
                  <a:srgbClr val="FFFFFF"/>
                </a:solidFill>
                <a:effectLst/>
                <a:uLnTx/>
                <a:uFillTx/>
                <a:latin typeface="Calibri"/>
                <a:cs typeface="Calibri"/>
              </a:rPr>
              <a:t>Center</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186055" marR="0" lvl="0" indent="-173355" defTabSz="914400" eaLnBrk="1" fontAlgn="auto" latinLnBrk="0" hangingPunct="1">
              <a:lnSpc>
                <a:spcPct val="100000"/>
              </a:lnSpc>
              <a:spcBef>
                <a:spcPts val="0"/>
              </a:spcBef>
              <a:spcAft>
                <a:spcPts val="0"/>
              </a:spcAft>
              <a:buClrTx/>
              <a:buSzTx/>
              <a:buFont typeface="Arial"/>
              <a:buChar char="•"/>
              <a:tabLst>
                <a:tab pos="186055" algn="l"/>
              </a:tabLst>
              <a:defRPr/>
            </a:pPr>
            <a:r>
              <a:rPr kumimoji="0" sz="1200" b="0" i="0" u="none" strike="noStrike" kern="0" cap="none" spc="0" normalizeH="0" baseline="0" noProof="0" dirty="0">
                <a:ln>
                  <a:noFill/>
                </a:ln>
                <a:solidFill>
                  <a:srgbClr val="FFFFFF"/>
                </a:solidFill>
                <a:effectLst/>
                <a:uLnTx/>
                <a:uFillTx/>
                <a:latin typeface="Calibri"/>
                <a:cs typeface="Calibri"/>
              </a:rPr>
              <a:t>Started</a:t>
            </a:r>
            <a:r>
              <a:rPr kumimoji="0" sz="1200" b="0" i="0" u="none" strike="noStrike" kern="0" cap="none" spc="35"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November</a:t>
            </a:r>
            <a:r>
              <a:rPr kumimoji="0" sz="1200" b="0" i="0" u="none" strike="noStrike" kern="0" cap="none" spc="80" normalizeH="0" baseline="0" noProof="0" dirty="0">
                <a:ln>
                  <a:noFill/>
                </a:ln>
                <a:solidFill>
                  <a:srgbClr val="FFFFFF"/>
                </a:solidFill>
                <a:effectLst/>
                <a:uLnTx/>
                <a:uFillTx/>
                <a:latin typeface="Calibri"/>
                <a:cs typeface="Calibri"/>
              </a:rPr>
              <a:t> </a:t>
            </a:r>
            <a:r>
              <a:rPr kumimoji="0" sz="1200" b="0" i="0" u="none" strike="noStrike" kern="0" cap="none" spc="-20" normalizeH="0" baseline="0" noProof="0" dirty="0">
                <a:ln>
                  <a:noFill/>
                </a:ln>
                <a:solidFill>
                  <a:srgbClr val="FFFFFF"/>
                </a:solidFill>
                <a:effectLst/>
                <a:uLnTx/>
                <a:uFillTx/>
                <a:latin typeface="Calibri"/>
                <a:cs typeface="Calibri"/>
              </a:rPr>
              <a:t>2018</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324485" marR="0" lvl="1" indent="-173355" defTabSz="914400" eaLnBrk="1" fontAlgn="auto" latinLnBrk="0" hangingPunct="1">
              <a:lnSpc>
                <a:spcPct val="100000"/>
              </a:lnSpc>
              <a:spcBef>
                <a:spcPts val="0"/>
              </a:spcBef>
              <a:spcAft>
                <a:spcPts val="0"/>
              </a:spcAft>
              <a:buClrTx/>
              <a:buSzTx/>
              <a:buFont typeface="Arial"/>
              <a:buChar char="•"/>
              <a:tabLst>
                <a:tab pos="324485" algn="l"/>
              </a:tabLst>
              <a:defRPr/>
            </a:pPr>
            <a:r>
              <a:rPr kumimoji="0" sz="1200" b="0" i="0" u="none" strike="noStrike" kern="0" cap="none" spc="0" normalizeH="0" baseline="0" noProof="0" dirty="0">
                <a:ln>
                  <a:noFill/>
                </a:ln>
                <a:solidFill>
                  <a:srgbClr val="FFFFFF"/>
                </a:solidFill>
                <a:effectLst/>
                <a:uLnTx/>
                <a:uFillTx/>
                <a:latin typeface="Calibri"/>
                <a:cs typeface="Calibri"/>
              </a:rPr>
              <a:t>Licensed</a:t>
            </a:r>
            <a:r>
              <a:rPr kumimoji="0" sz="1200" b="0" i="0" u="none" strike="noStrike" kern="0" cap="none" spc="90"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April</a:t>
            </a:r>
            <a:r>
              <a:rPr kumimoji="0" sz="1200" b="0" i="0" u="none" strike="noStrike" kern="0" cap="none" spc="55" normalizeH="0" baseline="0" noProof="0" dirty="0">
                <a:ln>
                  <a:noFill/>
                </a:ln>
                <a:solidFill>
                  <a:srgbClr val="FFFFFF"/>
                </a:solidFill>
                <a:effectLst/>
                <a:uLnTx/>
                <a:uFillTx/>
                <a:latin typeface="Calibri"/>
                <a:cs typeface="Calibri"/>
              </a:rPr>
              <a:t> </a:t>
            </a:r>
            <a:r>
              <a:rPr kumimoji="0" sz="1200" b="0" i="0" u="none" strike="noStrike" kern="0" cap="none" spc="-20" normalizeH="0" baseline="0" noProof="0" dirty="0">
                <a:ln>
                  <a:noFill/>
                </a:ln>
                <a:solidFill>
                  <a:srgbClr val="FFFFFF"/>
                </a:solidFill>
                <a:effectLst/>
                <a:uLnTx/>
                <a:uFillTx/>
                <a:latin typeface="Calibri"/>
                <a:cs typeface="Calibri"/>
              </a:rPr>
              <a:t>2021</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600075" marR="0" lvl="2" indent="-173355" defTabSz="914400" eaLnBrk="1" fontAlgn="auto" latinLnBrk="0" hangingPunct="1">
              <a:lnSpc>
                <a:spcPct val="100000"/>
              </a:lnSpc>
              <a:spcBef>
                <a:spcPts val="0"/>
              </a:spcBef>
              <a:spcAft>
                <a:spcPts val="0"/>
              </a:spcAft>
              <a:buClrTx/>
              <a:buSzTx/>
              <a:buFont typeface="Arial"/>
              <a:buChar char="•"/>
              <a:tabLst>
                <a:tab pos="600075" algn="l"/>
              </a:tabLst>
              <a:defRPr/>
            </a:pPr>
            <a:r>
              <a:rPr kumimoji="0" sz="1200" b="0" i="0" u="none" strike="noStrike" kern="0" cap="none" spc="0" normalizeH="0" baseline="0" noProof="0" dirty="0">
                <a:ln>
                  <a:noFill/>
                </a:ln>
                <a:solidFill>
                  <a:srgbClr val="FFFFFF"/>
                </a:solidFill>
                <a:effectLst/>
                <a:uLnTx/>
                <a:uFillTx/>
                <a:latin typeface="Calibri"/>
                <a:cs typeface="Calibri"/>
              </a:rPr>
              <a:t>29</a:t>
            </a:r>
            <a:r>
              <a:rPr kumimoji="0" sz="1200" b="0" i="0" u="none" strike="noStrike" kern="0" cap="none" spc="-70" normalizeH="0" baseline="0" noProof="0" dirty="0">
                <a:ln>
                  <a:noFill/>
                </a:ln>
                <a:solidFill>
                  <a:srgbClr val="FFFFFF"/>
                </a:solidFill>
                <a:effectLst/>
                <a:uLnTx/>
                <a:uFillTx/>
                <a:latin typeface="Calibri"/>
                <a:cs typeface="Calibri"/>
              </a:rPr>
              <a:t> </a:t>
            </a:r>
            <a:r>
              <a:rPr kumimoji="0" sz="1200" b="0" i="0" u="none" strike="noStrike" kern="0" cap="none" spc="-10" normalizeH="0" baseline="0" noProof="0" dirty="0">
                <a:ln>
                  <a:noFill/>
                </a:ln>
                <a:solidFill>
                  <a:srgbClr val="FFFFFF"/>
                </a:solidFill>
                <a:effectLst/>
                <a:uLnTx/>
                <a:uFillTx/>
                <a:latin typeface="Calibri"/>
                <a:cs typeface="Calibri"/>
              </a:rPr>
              <a:t>months</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10" name="object 10"/>
          <p:cNvSpPr txBox="1"/>
          <p:nvPr/>
        </p:nvSpPr>
        <p:spPr>
          <a:xfrm>
            <a:off x="714552" y="6053124"/>
            <a:ext cx="2343150" cy="7569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0" normalizeH="0" baseline="0" noProof="0" dirty="0">
                <a:ln>
                  <a:noFill/>
                </a:ln>
                <a:solidFill>
                  <a:srgbClr val="FFFFFF"/>
                </a:solidFill>
                <a:effectLst/>
                <a:uLnTx/>
                <a:uFillTx/>
                <a:latin typeface="Calibri"/>
                <a:cs typeface="Calibri"/>
              </a:rPr>
              <a:t>Birth</a:t>
            </a:r>
            <a:r>
              <a:rPr kumimoji="0" sz="1200" b="0" i="0" u="none" strike="noStrike" kern="0" cap="none" spc="80"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Center</a:t>
            </a:r>
            <a:r>
              <a:rPr kumimoji="0" sz="1200" b="0" i="0" u="none" strike="noStrike" kern="0" cap="none" spc="120"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of</a:t>
            </a:r>
            <a:r>
              <a:rPr kumimoji="0" sz="1200" b="0" i="0" u="none" strike="noStrike" kern="0" cap="none" spc="125"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Bloomington-</a:t>
            </a:r>
            <a:r>
              <a:rPr kumimoji="0" sz="1200" b="0" i="0" u="none" strike="noStrike" kern="0" cap="none" spc="-10" normalizeH="0" baseline="0" noProof="0" dirty="0">
                <a:ln>
                  <a:noFill/>
                </a:ln>
                <a:solidFill>
                  <a:srgbClr val="FFFFFF"/>
                </a:solidFill>
                <a:effectLst/>
                <a:uLnTx/>
                <a:uFillTx/>
                <a:latin typeface="Calibri"/>
                <a:cs typeface="Calibri"/>
              </a:rPr>
              <a:t>Normal</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505459" marR="0" lvl="0" indent="-173355" defTabSz="914400" eaLnBrk="1" fontAlgn="auto" latinLnBrk="0" hangingPunct="1">
              <a:lnSpc>
                <a:spcPct val="100000"/>
              </a:lnSpc>
              <a:spcBef>
                <a:spcPts val="0"/>
              </a:spcBef>
              <a:spcAft>
                <a:spcPts val="0"/>
              </a:spcAft>
              <a:buClrTx/>
              <a:buSzTx/>
              <a:buFont typeface="Arial"/>
              <a:buChar char="•"/>
              <a:tabLst>
                <a:tab pos="505459" algn="l"/>
              </a:tabLst>
              <a:defRPr/>
            </a:pPr>
            <a:r>
              <a:rPr kumimoji="0" sz="1200" b="0" i="0" u="none" strike="noStrike" kern="0" cap="none" spc="0" normalizeH="0" baseline="0" noProof="0" dirty="0">
                <a:ln>
                  <a:noFill/>
                </a:ln>
                <a:solidFill>
                  <a:srgbClr val="FFFFFF"/>
                </a:solidFill>
                <a:effectLst/>
                <a:uLnTx/>
                <a:uFillTx/>
                <a:latin typeface="Calibri"/>
                <a:cs typeface="Calibri"/>
              </a:rPr>
              <a:t>Started</a:t>
            </a:r>
            <a:r>
              <a:rPr kumimoji="0" sz="1200" b="0" i="0" u="none" strike="noStrike" kern="0" cap="none" spc="35"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November</a:t>
            </a:r>
            <a:r>
              <a:rPr kumimoji="0" sz="1200" b="0" i="0" u="none" strike="noStrike" kern="0" cap="none" spc="80" normalizeH="0" baseline="0" noProof="0" dirty="0">
                <a:ln>
                  <a:noFill/>
                </a:ln>
                <a:solidFill>
                  <a:srgbClr val="FFFFFF"/>
                </a:solidFill>
                <a:effectLst/>
                <a:uLnTx/>
                <a:uFillTx/>
                <a:latin typeface="Calibri"/>
                <a:cs typeface="Calibri"/>
              </a:rPr>
              <a:t> </a:t>
            </a:r>
            <a:r>
              <a:rPr kumimoji="0" sz="1200" b="0" i="0" u="none" strike="noStrike" kern="0" cap="none" spc="-20" normalizeH="0" baseline="0" noProof="0" dirty="0">
                <a:ln>
                  <a:noFill/>
                </a:ln>
                <a:solidFill>
                  <a:srgbClr val="FFFFFF"/>
                </a:solidFill>
                <a:effectLst/>
                <a:uLnTx/>
                <a:uFillTx/>
                <a:latin typeface="Calibri"/>
                <a:cs typeface="Calibri"/>
              </a:rPr>
              <a:t>2013</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438784" marR="0" lvl="0" indent="-173355" defTabSz="914400" eaLnBrk="1" fontAlgn="auto" latinLnBrk="0" hangingPunct="1">
              <a:lnSpc>
                <a:spcPct val="100000"/>
              </a:lnSpc>
              <a:spcBef>
                <a:spcPts val="0"/>
              </a:spcBef>
              <a:spcAft>
                <a:spcPts val="0"/>
              </a:spcAft>
              <a:buClrTx/>
              <a:buSzTx/>
              <a:buFont typeface="Arial"/>
              <a:buChar char="•"/>
              <a:tabLst>
                <a:tab pos="438784" algn="l"/>
              </a:tabLst>
              <a:defRPr/>
            </a:pPr>
            <a:r>
              <a:rPr kumimoji="0" sz="1200" b="0" i="0" u="none" strike="noStrike" kern="0" cap="none" spc="0" normalizeH="0" baseline="0" noProof="0" dirty="0">
                <a:ln>
                  <a:noFill/>
                </a:ln>
                <a:solidFill>
                  <a:srgbClr val="FFFFFF"/>
                </a:solidFill>
                <a:effectLst/>
                <a:uLnTx/>
                <a:uFillTx/>
                <a:latin typeface="Calibri"/>
                <a:cs typeface="Calibri"/>
              </a:rPr>
              <a:t>Licensed</a:t>
            </a:r>
            <a:r>
              <a:rPr kumimoji="0" sz="1200" b="0" i="0" u="none" strike="noStrike" kern="0" cap="none" spc="155"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September</a:t>
            </a:r>
            <a:r>
              <a:rPr kumimoji="0" sz="1200" b="0" i="0" u="none" strike="noStrike" kern="0" cap="none" spc="135" normalizeH="0" baseline="0" noProof="0" dirty="0">
                <a:ln>
                  <a:noFill/>
                </a:ln>
                <a:solidFill>
                  <a:srgbClr val="FFFFFF"/>
                </a:solidFill>
                <a:effectLst/>
                <a:uLnTx/>
                <a:uFillTx/>
                <a:latin typeface="Calibri"/>
                <a:cs typeface="Calibri"/>
              </a:rPr>
              <a:t> </a:t>
            </a:r>
            <a:r>
              <a:rPr kumimoji="0" sz="1200" b="0" i="0" u="none" strike="noStrike" kern="0" cap="none" spc="-20" normalizeH="0" baseline="0" noProof="0" dirty="0">
                <a:ln>
                  <a:noFill/>
                </a:ln>
                <a:solidFill>
                  <a:srgbClr val="FFFFFF"/>
                </a:solidFill>
                <a:effectLst/>
                <a:uLnTx/>
                <a:uFillTx/>
                <a:latin typeface="Calibri"/>
                <a:cs typeface="Calibri"/>
              </a:rPr>
              <a:t>2016</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922019" marR="0" lvl="1" indent="-173355" defTabSz="914400" eaLnBrk="1" fontAlgn="auto" latinLnBrk="0" hangingPunct="1">
              <a:lnSpc>
                <a:spcPct val="100000"/>
              </a:lnSpc>
              <a:spcBef>
                <a:spcPts val="0"/>
              </a:spcBef>
              <a:spcAft>
                <a:spcPts val="0"/>
              </a:spcAft>
              <a:buClrTx/>
              <a:buSzTx/>
              <a:buFont typeface="Arial"/>
              <a:buChar char="•"/>
              <a:tabLst>
                <a:tab pos="922019" algn="l"/>
              </a:tabLst>
              <a:defRPr/>
            </a:pPr>
            <a:r>
              <a:rPr kumimoji="0" sz="1200" b="0" i="0" u="none" strike="noStrike" kern="0" cap="none" spc="0" normalizeH="0" baseline="0" noProof="0" dirty="0">
                <a:ln>
                  <a:noFill/>
                </a:ln>
                <a:solidFill>
                  <a:srgbClr val="FFFFFF"/>
                </a:solidFill>
                <a:effectLst/>
                <a:uLnTx/>
                <a:uFillTx/>
                <a:latin typeface="Calibri"/>
                <a:cs typeface="Calibri"/>
              </a:rPr>
              <a:t>34</a:t>
            </a:r>
            <a:r>
              <a:rPr kumimoji="0" sz="1200" b="0" i="0" u="none" strike="noStrike" kern="0" cap="none" spc="-70" normalizeH="0" baseline="0" noProof="0" dirty="0">
                <a:ln>
                  <a:noFill/>
                </a:ln>
                <a:solidFill>
                  <a:srgbClr val="FFFFFF"/>
                </a:solidFill>
                <a:effectLst/>
                <a:uLnTx/>
                <a:uFillTx/>
                <a:latin typeface="Calibri"/>
                <a:cs typeface="Calibri"/>
              </a:rPr>
              <a:t> </a:t>
            </a:r>
            <a:r>
              <a:rPr kumimoji="0" sz="1200" b="0" i="0" u="none" strike="noStrike" kern="0" cap="none" spc="-10" normalizeH="0" baseline="0" noProof="0" dirty="0">
                <a:ln>
                  <a:noFill/>
                </a:ln>
                <a:solidFill>
                  <a:srgbClr val="FFFFFF"/>
                </a:solidFill>
                <a:effectLst/>
                <a:uLnTx/>
                <a:uFillTx/>
                <a:latin typeface="Calibri"/>
                <a:cs typeface="Calibri"/>
              </a:rPr>
              <a:t>months</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11" name="object 11"/>
          <p:cNvSpPr txBox="1"/>
          <p:nvPr/>
        </p:nvSpPr>
        <p:spPr>
          <a:xfrm>
            <a:off x="9843261" y="3458336"/>
            <a:ext cx="1795780" cy="757555"/>
          </a:xfrm>
          <a:prstGeom prst="rect">
            <a:avLst/>
          </a:prstGeom>
        </p:spPr>
        <p:txBody>
          <a:bodyPr vert="horz" wrap="square" lIns="0" tIns="12700" rIns="0" bIns="0" rtlCol="0">
            <a:spAutoFit/>
          </a:bodyPr>
          <a:lstStyle/>
          <a:p>
            <a:pPr marL="165100" marR="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0" normalizeH="0" baseline="0" noProof="0" dirty="0">
                <a:ln>
                  <a:noFill/>
                </a:ln>
                <a:solidFill>
                  <a:srgbClr val="FFFFFF"/>
                </a:solidFill>
                <a:effectLst/>
                <a:uLnTx/>
                <a:uFillTx/>
                <a:latin typeface="Calibri"/>
                <a:cs typeface="Calibri"/>
              </a:rPr>
              <a:t>Birth</a:t>
            </a:r>
            <a:r>
              <a:rPr kumimoji="0" sz="1200" b="0" i="0" u="none" strike="noStrike" kern="0" cap="none" spc="-10"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Center</a:t>
            </a:r>
            <a:r>
              <a:rPr kumimoji="0" sz="1200" b="0" i="0" u="none" strike="noStrike" kern="0" cap="none" spc="25"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of</a:t>
            </a:r>
            <a:r>
              <a:rPr kumimoji="0" sz="1200" b="0" i="0" u="none" strike="noStrike" kern="0" cap="none" spc="25" normalizeH="0" baseline="0" noProof="0" dirty="0">
                <a:ln>
                  <a:noFill/>
                </a:ln>
                <a:solidFill>
                  <a:srgbClr val="FFFFFF"/>
                </a:solidFill>
                <a:effectLst/>
                <a:uLnTx/>
                <a:uFillTx/>
                <a:latin typeface="Calibri"/>
                <a:cs typeface="Calibri"/>
              </a:rPr>
              <a:t> </a:t>
            </a:r>
            <a:r>
              <a:rPr kumimoji="0" sz="1200" b="0" i="0" u="none" strike="noStrike" kern="0" cap="none" spc="-10" normalizeH="0" baseline="0" noProof="0" dirty="0">
                <a:ln>
                  <a:noFill/>
                </a:ln>
                <a:solidFill>
                  <a:srgbClr val="FFFFFF"/>
                </a:solidFill>
                <a:effectLst/>
                <a:uLnTx/>
                <a:uFillTx/>
                <a:latin typeface="Calibri"/>
                <a:cs typeface="Calibri"/>
              </a:rPr>
              <a:t>Chicago</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295275" marR="0" lvl="0" indent="-173355" defTabSz="914400" eaLnBrk="1" fontAlgn="auto" latinLnBrk="0" hangingPunct="1">
              <a:lnSpc>
                <a:spcPct val="100000"/>
              </a:lnSpc>
              <a:spcBef>
                <a:spcPts val="0"/>
              </a:spcBef>
              <a:spcAft>
                <a:spcPts val="0"/>
              </a:spcAft>
              <a:buClrTx/>
              <a:buSzTx/>
              <a:buFont typeface="Arial"/>
              <a:buChar char="•"/>
              <a:tabLst>
                <a:tab pos="295275" algn="l"/>
              </a:tabLst>
              <a:defRPr/>
            </a:pPr>
            <a:r>
              <a:rPr kumimoji="0" sz="1200" b="0" i="0" u="none" strike="noStrike" kern="0" cap="none" spc="0" normalizeH="0" baseline="0" noProof="0" dirty="0">
                <a:ln>
                  <a:noFill/>
                </a:ln>
                <a:solidFill>
                  <a:srgbClr val="FFFFFF"/>
                </a:solidFill>
                <a:effectLst/>
                <a:uLnTx/>
                <a:uFillTx/>
                <a:latin typeface="Calibri"/>
                <a:cs typeface="Calibri"/>
              </a:rPr>
              <a:t>Started</a:t>
            </a:r>
            <a:r>
              <a:rPr kumimoji="0" sz="1200" b="0" i="0" u="none" strike="noStrike" kern="0" cap="none" spc="70"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January</a:t>
            </a:r>
            <a:r>
              <a:rPr kumimoji="0" sz="1200" b="0" i="0" u="none" strike="noStrike" kern="0" cap="none" spc="120" normalizeH="0" baseline="0" noProof="0" dirty="0">
                <a:ln>
                  <a:noFill/>
                </a:ln>
                <a:solidFill>
                  <a:srgbClr val="FFFFFF"/>
                </a:solidFill>
                <a:effectLst/>
                <a:uLnTx/>
                <a:uFillTx/>
                <a:latin typeface="Calibri"/>
                <a:cs typeface="Calibri"/>
              </a:rPr>
              <a:t>  </a:t>
            </a:r>
            <a:r>
              <a:rPr kumimoji="0" sz="1200" b="0" i="0" u="none" strike="noStrike" kern="0" cap="none" spc="-20" normalizeH="0" baseline="0" noProof="0" dirty="0">
                <a:ln>
                  <a:noFill/>
                </a:ln>
                <a:solidFill>
                  <a:srgbClr val="FFFFFF"/>
                </a:solidFill>
                <a:effectLst/>
                <a:uLnTx/>
                <a:uFillTx/>
                <a:latin typeface="Calibri"/>
                <a:cs typeface="Calibri"/>
              </a:rPr>
              <a:t>2020</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186055" marR="0" lvl="0" indent="-173355" defTabSz="914400" eaLnBrk="1" fontAlgn="auto" latinLnBrk="0" hangingPunct="1">
              <a:lnSpc>
                <a:spcPct val="100000"/>
              </a:lnSpc>
              <a:spcBef>
                <a:spcPts val="0"/>
              </a:spcBef>
              <a:spcAft>
                <a:spcPts val="0"/>
              </a:spcAft>
              <a:buClrTx/>
              <a:buSzTx/>
              <a:buFont typeface="Arial"/>
              <a:buChar char="•"/>
              <a:tabLst>
                <a:tab pos="186055" algn="l"/>
              </a:tabLst>
              <a:defRPr/>
            </a:pPr>
            <a:r>
              <a:rPr kumimoji="0" sz="1200" b="0" i="0" u="none" strike="noStrike" kern="0" cap="none" spc="0" normalizeH="0" baseline="0" noProof="0" dirty="0">
                <a:ln>
                  <a:noFill/>
                </a:ln>
                <a:solidFill>
                  <a:srgbClr val="FFFFFF"/>
                </a:solidFill>
                <a:effectLst/>
                <a:uLnTx/>
                <a:uFillTx/>
                <a:latin typeface="Calibri"/>
                <a:cs typeface="Calibri"/>
              </a:rPr>
              <a:t>Licensed</a:t>
            </a:r>
            <a:r>
              <a:rPr kumimoji="0" sz="1200" b="0" i="0" u="none" strike="noStrike" kern="0" cap="none" spc="100" normalizeH="0" baseline="0" noProof="0" dirty="0">
                <a:ln>
                  <a:noFill/>
                </a:ln>
                <a:solidFill>
                  <a:srgbClr val="FFFFFF"/>
                </a:solidFill>
                <a:effectLst/>
                <a:uLnTx/>
                <a:uFillTx/>
                <a:latin typeface="Calibri"/>
                <a:cs typeface="Calibri"/>
              </a:rPr>
              <a:t> </a:t>
            </a:r>
            <a:r>
              <a:rPr kumimoji="0" sz="1200" b="0" i="0" u="none" strike="noStrike" kern="0" cap="none" spc="0" normalizeH="0" baseline="0" noProof="0" dirty="0">
                <a:ln>
                  <a:noFill/>
                </a:ln>
                <a:solidFill>
                  <a:srgbClr val="FFFFFF"/>
                </a:solidFill>
                <a:effectLst/>
                <a:uLnTx/>
                <a:uFillTx/>
                <a:latin typeface="Calibri"/>
                <a:cs typeface="Calibri"/>
              </a:rPr>
              <a:t>November</a:t>
            </a:r>
            <a:r>
              <a:rPr kumimoji="0" sz="1200" b="0" i="0" u="none" strike="noStrike" kern="0" cap="none" spc="100" normalizeH="0" baseline="0" noProof="0" dirty="0">
                <a:ln>
                  <a:noFill/>
                </a:ln>
                <a:solidFill>
                  <a:srgbClr val="FFFFFF"/>
                </a:solidFill>
                <a:effectLst/>
                <a:uLnTx/>
                <a:uFillTx/>
                <a:latin typeface="Calibri"/>
                <a:cs typeface="Calibri"/>
              </a:rPr>
              <a:t> </a:t>
            </a:r>
            <a:r>
              <a:rPr kumimoji="0" sz="1200" b="0" i="0" u="none" strike="noStrike" kern="0" cap="none" spc="-20" normalizeH="0" baseline="0" noProof="0" dirty="0">
                <a:ln>
                  <a:noFill/>
                </a:ln>
                <a:solidFill>
                  <a:srgbClr val="FFFFFF"/>
                </a:solidFill>
                <a:effectLst/>
                <a:uLnTx/>
                <a:uFillTx/>
                <a:latin typeface="Calibri"/>
                <a:cs typeface="Calibri"/>
              </a:rPr>
              <a:t>2021</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648335" marR="0" lvl="1" indent="-172720" defTabSz="914400" eaLnBrk="1" fontAlgn="auto" latinLnBrk="0" hangingPunct="1">
              <a:lnSpc>
                <a:spcPct val="100000"/>
              </a:lnSpc>
              <a:spcBef>
                <a:spcPts val="0"/>
              </a:spcBef>
              <a:spcAft>
                <a:spcPts val="0"/>
              </a:spcAft>
              <a:buClrTx/>
              <a:buSzTx/>
              <a:buFont typeface="Arial"/>
              <a:buChar char="•"/>
              <a:tabLst>
                <a:tab pos="648335" algn="l"/>
              </a:tabLst>
              <a:defRPr/>
            </a:pPr>
            <a:r>
              <a:rPr kumimoji="0" sz="1200" b="0" i="0" u="none" strike="noStrike" kern="0" cap="none" spc="0" normalizeH="0" baseline="0" noProof="0" dirty="0">
                <a:ln>
                  <a:noFill/>
                </a:ln>
                <a:solidFill>
                  <a:srgbClr val="FFFFFF"/>
                </a:solidFill>
                <a:effectLst/>
                <a:uLnTx/>
                <a:uFillTx/>
                <a:latin typeface="Calibri"/>
                <a:cs typeface="Calibri"/>
              </a:rPr>
              <a:t>22</a:t>
            </a:r>
            <a:r>
              <a:rPr kumimoji="0" sz="1200" b="0" i="0" u="none" strike="noStrike" kern="0" cap="none" spc="-70" normalizeH="0" baseline="0" noProof="0" dirty="0">
                <a:ln>
                  <a:noFill/>
                </a:ln>
                <a:solidFill>
                  <a:srgbClr val="FFFFFF"/>
                </a:solidFill>
                <a:effectLst/>
                <a:uLnTx/>
                <a:uFillTx/>
                <a:latin typeface="Calibri"/>
                <a:cs typeface="Calibri"/>
              </a:rPr>
              <a:t> </a:t>
            </a:r>
            <a:r>
              <a:rPr kumimoji="0" sz="1200" b="0" i="0" u="none" strike="noStrike" kern="0" cap="none" spc="-10" normalizeH="0" baseline="0" noProof="0" dirty="0">
                <a:ln>
                  <a:noFill/>
                </a:ln>
                <a:solidFill>
                  <a:srgbClr val="FFFFFF"/>
                </a:solidFill>
                <a:effectLst/>
                <a:uLnTx/>
                <a:uFillTx/>
                <a:latin typeface="Calibri"/>
                <a:cs typeface="Calibri"/>
              </a:rPr>
              <a:t>months</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12" name="object 12"/>
          <p:cNvSpPr txBox="1"/>
          <p:nvPr/>
        </p:nvSpPr>
        <p:spPr>
          <a:xfrm>
            <a:off x="1162913" y="3513277"/>
            <a:ext cx="1450340" cy="240029"/>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400" b="0" i="0" u="none" strike="noStrike" kern="0" cap="none" spc="0" normalizeH="0" baseline="0" noProof="0" dirty="0">
                <a:ln>
                  <a:noFill/>
                </a:ln>
                <a:solidFill>
                  <a:srgbClr val="FFFFFF"/>
                </a:solidFill>
                <a:effectLst/>
                <a:uLnTx/>
                <a:uFillTx/>
                <a:latin typeface="Calibri"/>
                <a:cs typeface="Calibri"/>
              </a:rPr>
              <a:t>Birth</a:t>
            </a:r>
            <a:r>
              <a:rPr kumimoji="0" sz="1400" b="0" i="0" u="none" strike="noStrike" kern="0" cap="none" spc="2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Center</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PCC</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
        <p:nvSpPr>
          <p:cNvPr id="13" name="object 13"/>
          <p:cNvSpPr txBox="1"/>
          <p:nvPr/>
        </p:nvSpPr>
        <p:spPr>
          <a:xfrm>
            <a:off x="9441306" y="6502095"/>
            <a:ext cx="1882775" cy="23939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rgbClr val="FFFFFF"/>
                </a:solidFill>
                <a:effectLst/>
                <a:uLnTx/>
                <a:uFillTx/>
                <a:latin typeface="Calibri"/>
                <a:cs typeface="Calibri"/>
              </a:rPr>
              <a:t>NorthPointe</a:t>
            </a:r>
            <a:r>
              <a:rPr kumimoji="0" sz="1400" b="0" i="0" u="none" strike="noStrike" kern="0" cap="none" spc="6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Birth</a:t>
            </a:r>
            <a:r>
              <a:rPr kumimoji="0" sz="1400" b="0" i="0" u="none" strike="noStrike" kern="0" cap="none" spc="90" normalizeH="0" baseline="0" noProof="0" dirty="0">
                <a:ln>
                  <a:noFill/>
                </a:ln>
                <a:solidFill>
                  <a:srgbClr val="FFFFFF"/>
                </a:solidFill>
                <a:effectLst/>
                <a:uLnTx/>
                <a:uFillTx/>
                <a:latin typeface="Calibri"/>
                <a:cs typeface="Calibri"/>
              </a:rPr>
              <a:t> </a:t>
            </a:r>
            <a:r>
              <a:rPr kumimoji="0" sz="1400" b="0" i="0" u="none" strike="noStrike" kern="0" cap="none" spc="-10" normalizeH="0" baseline="0" noProof="0" dirty="0">
                <a:ln>
                  <a:noFill/>
                </a:ln>
                <a:solidFill>
                  <a:srgbClr val="FFFFFF"/>
                </a:solidFill>
                <a:effectLst/>
                <a:uLnTx/>
                <a:uFillTx/>
                <a:latin typeface="Calibri"/>
                <a:cs typeface="Calibri"/>
              </a:rPr>
              <a:t>Center</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sp>
        <p:nvSpPr>
          <p:cNvPr id="116" name="Google Shape;116;p1"/>
          <p:cNvSpPr txBox="1">
            <a:spLocks noGrp="1"/>
          </p:cNvSpPr>
          <p:nvPr>
            <p:ph type="ctrTitle"/>
          </p:nvPr>
        </p:nvSpPr>
        <p:spPr>
          <a:xfrm>
            <a:off x="2286000" y="914400"/>
            <a:ext cx="7848600" cy="2209800"/>
          </a:xfrm>
          <a:prstGeom prst="rect">
            <a:avLst/>
          </a:prstGeom>
          <a:noFill/>
          <a:ln>
            <a:noFill/>
          </a:ln>
        </p:spPr>
        <p:txBody>
          <a:bodyPr spcFirstLastPara="1" wrap="square" lIns="92075" tIns="46025" rIns="92075" bIns="46025" anchor="ctr" anchorCtr="0">
            <a:noAutofit/>
          </a:bodyPr>
          <a:lstStyle/>
          <a:p>
            <a:pPr>
              <a:buClr>
                <a:schemeClr val="lt2"/>
              </a:buClr>
              <a:buSzPts val="4800"/>
            </a:pPr>
            <a:r>
              <a:rPr lang="en-US" sz="4800" b="1" dirty="0">
                <a:solidFill>
                  <a:schemeClr val="lt1"/>
                </a:solidFill>
                <a:latin typeface="Oswald"/>
                <a:ea typeface="Oswald"/>
                <a:cs typeface="Oswald"/>
                <a:sym typeface="Oswald"/>
              </a:rPr>
              <a:t>MOVING FORWARD:</a:t>
            </a:r>
            <a:br>
              <a:rPr lang="en-US" sz="4800" dirty="0">
                <a:solidFill>
                  <a:schemeClr val="lt1"/>
                </a:solidFill>
                <a:latin typeface="Oswald"/>
                <a:ea typeface="Oswald"/>
                <a:cs typeface="Oswald"/>
                <a:sym typeface="Oswald"/>
              </a:rPr>
            </a:br>
            <a:r>
              <a:rPr lang="en-US" sz="3600" b="1" dirty="0">
                <a:solidFill>
                  <a:schemeClr val="lt1"/>
                </a:solidFill>
                <a:latin typeface="Oswald"/>
                <a:ea typeface="Oswald"/>
                <a:cs typeface="Oswald"/>
                <a:sym typeface="Oswald"/>
              </a:rPr>
              <a:t>Making Progress for Birth Centers</a:t>
            </a:r>
            <a:br>
              <a:rPr lang="en-US" sz="3600" b="1" dirty="0">
                <a:solidFill>
                  <a:schemeClr val="lt1"/>
                </a:solidFill>
                <a:latin typeface="Oswald"/>
                <a:ea typeface="Oswald"/>
                <a:cs typeface="Oswald"/>
                <a:sym typeface="Oswald"/>
              </a:rPr>
            </a:br>
            <a:r>
              <a:rPr lang="en-US" sz="3600" b="1" dirty="0">
                <a:solidFill>
                  <a:schemeClr val="lt1"/>
                </a:solidFill>
                <a:latin typeface="Oswald"/>
                <a:ea typeface="Oswald"/>
                <a:cs typeface="Oswald"/>
                <a:sym typeface="Oswald"/>
              </a:rPr>
              <a:t>In Illinois </a:t>
            </a:r>
            <a:endParaRPr sz="3600" b="1" dirty="0">
              <a:solidFill>
                <a:schemeClr val="lt1"/>
              </a:solidFill>
              <a:latin typeface="Oswald"/>
              <a:ea typeface="Oswald"/>
              <a:cs typeface="Oswald"/>
              <a:sym typeface="Oswald"/>
            </a:endParaRPr>
          </a:p>
        </p:txBody>
      </p:sp>
      <p:sp>
        <p:nvSpPr>
          <p:cNvPr id="117" name="Google Shape;117;p1"/>
          <p:cNvSpPr txBox="1">
            <a:spLocks noGrp="1"/>
          </p:cNvSpPr>
          <p:nvPr>
            <p:ph type="subTitle" idx="1"/>
          </p:nvPr>
        </p:nvSpPr>
        <p:spPr>
          <a:xfrm>
            <a:off x="2286000" y="4038600"/>
            <a:ext cx="7543800" cy="2133600"/>
          </a:xfrm>
          <a:prstGeom prst="rect">
            <a:avLst/>
          </a:prstGeom>
          <a:noFill/>
          <a:ln>
            <a:noFill/>
          </a:ln>
        </p:spPr>
        <p:txBody>
          <a:bodyPr spcFirstLastPara="1" wrap="square" lIns="92075" tIns="46025" rIns="92075" bIns="46025" anchor="t" anchorCtr="0">
            <a:noAutofit/>
          </a:bodyPr>
          <a:lstStyle/>
          <a:p>
            <a:pPr marL="0" indent="0" algn="l">
              <a:spcBef>
                <a:spcPts val="480"/>
              </a:spcBef>
              <a:buClr>
                <a:schemeClr val="dk1"/>
              </a:buClr>
              <a:buSzPts val="1920"/>
            </a:pPr>
            <a:r>
              <a:rPr lang="en-US" sz="2800"/>
              <a:t>                          </a:t>
            </a:r>
            <a:endParaRPr/>
          </a:p>
          <a:p>
            <a:pPr marL="0" indent="0" algn="l">
              <a:spcBef>
                <a:spcPts val="480"/>
              </a:spcBef>
              <a:buSzPts val="1920"/>
            </a:pPr>
            <a:r>
              <a:rPr lang="en-US" sz="3000"/>
              <a:t> </a:t>
            </a:r>
            <a:endParaRPr sz="3000"/>
          </a:p>
          <a:p>
            <a:pPr marL="0" indent="0" algn="l"/>
            <a:r>
              <a:rPr lang="en-US" sz="2200"/>
              <a:t> </a:t>
            </a:r>
            <a:endParaRPr sz="2200"/>
          </a:p>
        </p:txBody>
      </p:sp>
      <p:pic>
        <p:nvPicPr>
          <p:cNvPr id="118" name="Google Shape;118;p1"/>
          <p:cNvPicPr preferRelativeResize="0"/>
          <p:nvPr/>
        </p:nvPicPr>
        <p:blipFill rotWithShape="1">
          <a:blip r:embed="rId3">
            <a:alphaModFix/>
          </a:blip>
          <a:srcRect t="28185" r="4388" b="26761"/>
          <a:stretch/>
        </p:blipFill>
        <p:spPr>
          <a:xfrm>
            <a:off x="2103826" y="4405600"/>
            <a:ext cx="3399025" cy="1331900"/>
          </a:xfrm>
          <a:prstGeom prst="rect">
            <a:avLst/>
          </a:prstGeom>
          <a:noFill/>
          <a:ln>
            <a:noFill/>
          </a:ln>
        </p:spPr>
      </p:pic>
      <p:pic>
        <p:nvPicPr>
          <p:cNvPr id="119" name="Google Shape;119;p1"/>
          <p:cNvPicPr preferRelativeResize="0"/>
          <p:nvPr/>
        </p:nvPicPr>
        <p:blipFill>
          <a:blip r:embed="rId4">
            <a:alphaModFix/>
          </a:blip>
          <a:stretch>
            <a:fillRect/>
          </a:stretch>
        </p:blipFill>
        <p:spPr>
          <a:xfrm>
            <a:off x="5898400" y="4456375"/>
            <a:ext cx="3763226" cy="1331900"/>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7604759" y="3005327"/>
            <a:ext cx="3851148" cy="1417320"/>
          </a:xfrm>
          <a:prstGeom prst="rect">
            <a:avLst/>
          </a:prstGeom>
        </p:spPr>
      </p:pic>
      <p:pic>
        <p:nvPicPr>
          <p:cNvPr id="3" name="object 3"/>
          <p:cNvPicPr/>
          <p:nvPr/>
        </p:nvPicPr>
        <p:blipFill>
          <a:blip r:embed="rId3" cstate="print"/>
          <a:stretch>
            <a:fillRect/>
          </a:stretch>
        </p:blipFill>
        <p:spPr>
          <a:xfrm>
            <a:off x="3128772" y="5062728"/>
            <a:ext cx="2494788" cy="1385316"/>
          </a:xfrm>
          <a:prstGeom prst="rect">
            <a:avLst/>
          </a:prstGeom>
        </p:spPr>
      </p:pic>
      <p:pic>
        <p:nvPicPr>
          <p:cNvPr id="4" name="object 4"/>
          <p:cNvPicPr/>
          <p:nvPr/>
        </p:nvPicPr>
        <p:blipFill>
          <a:blip r:embed="rId4" cstate="print"/>
          <a:stretch>
            <a:fillRect/>
          </a:stretch>
        </p:blipFill>
        <p:spPr>
          <a:xfrm>
            <a:off x="7604759" y="1588008"/>
            <a:ext cx="3851148" cy="1178052"/>
          </a:xfrm>
          <a:prstGeom prst="rect">
            <a:avLst/>
          </a:prstGeom>
        </p:spPr>
      </p:pic>
      <p:sp>
        <p:nvSpPr>
          <p:cNvPr id="5" name="object 5"/>
          <p:cNvSpPr txBox="1"/>
          <p:nvPr/>
        </p:nvSpPr>
        <p:spPr>
          <a:xfrm>
            <a:off x="1883791" y="1191005"/>
            <a:ext cx="1097280" cy="2692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tab pos="320040" algn="l"/>
                <a:tab pos="644525" algn="l"/>
                <a:tab pos="959485" algn="l"/>
              </a:tabLst>
              <a:defRPr/>
            </a:pPr>
            <a:r>
              <a:rPr kumimoji="0" sz="1600" b="1" i="0" u="none" strike="noStrike" kern="0" cap="none" spc="25" normalizeH="0" baseline="0" noProof="0" dirty="0">
                <a:ln>
                  <a:noFill/>
                </a:ln>
                <a:solidFill>
                  <a:srgbClr val="FFFFFF"/>
                </a:solidFill>
                <a:effectLst/>
                <a:uLnTx/>
                <a:uFillTx/>
                <a:latin typeface="Calibri"/>
                <a:cs typeface="Calibri"/>
              </a:rPr>
              <a:t>C</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50" normalizeH="0" baseline="0" noProof="0" dirty="0">
                <a:ln>
                  <a:noFill/>
                </a:ln>
                <a:solidFill>
                  <a:srgbClr val="FFFFFF"/>
                </a:solidFill>
                <a:effectLst/>
                <a:uLnTx/>
                <a:uFillTx/>
                <a:latin typeface="Calibri"/>
                <a:cs typeface="Calibri"/>
              </a:rPr>
              <a:t>U</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20" normalizeH="0" baseline="0" noProof="0" dirty="0">
                <a:ln>
                  <a:noFill/>
                </a:ln>
                <a:solidFill>
                  <a:srgbClr val="FFFFFF"/>
                </a:solidFill>
                <a:effectLst/>
                <a:uLnTx/>
                <a:uFillTx/>
                <a:latin typeface="Calibri"/>
                <a:cs typeface="Calibri"/>
              </a:rPr>
              <a:t>R</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20" normalizeH="0" baseline="0" noProof="0" dirty="0">
                <a:ln>
                  <a:noFill/>
                </a:ln>
                <a:solidFill>
                  <a:srgbClr val="FFFFFF"/>
                </a:solidFill>
                <a:effectLst/>
                <a:uLnTx/>
                <a:uFillTx/>
                <a:latin typeface="Calibri"/>
                <a:cs typeface="Calibri"/>
              </a:rPr>
              <a:t>R</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pic>
        <p:nvPicPr>
          <p:cNvPr id="6" name="object 6"/>
          <p:cNvPicPr/>
          <p:nvPr/>
        </p:nvPicPr>
        <p:blipFill>
          <a:blip r:embed="rId5" cstate="print"/>
          <a:stretch>
            <a:fillRect/>
          </a:stretch>
        </p:blipFill>
        <p:spPr>
          <a:xfrm>
            <a:off x="362711" y="1588008"/>
            <a:ext cx="2371344" cy="2252472"/>
          </a:xfrm>
          <a:prstGeom prst="rect">
            <a:avLst/>
          </a:prstGeom>
        </p:spPr>
      </p:pic>
      <p:pic>
        <p:nvPicPr>
          <p:cNvPr id="7" name="object 7"/>
          <p:cNvPicPr/>
          <p:nvPr/>
        </p:nvPicPr>
        <p:blipFill>
          <a:blip r:embed="rId6" cstate="print"/>
          <a:stretch>
            <a:fillRect/>
          </a:stretch>
        </p:blipFill>
        <p:spPr>
          <a:xfrm>
            <a:off x="362711" y="4160520"/>
            <a:ext cx="2371344" cy="2272284"/>
          </a:xfrm>
          <a:prstGeom prst="rect">
            <a:avLst/>
          </a:prstGeom>
        </p:spPr>
      </p:pic>
      <p:pic>
        <p:nvPicPr>
          <p:cNvPr id="8" name="object 8"/>
          <p:cNvPicPr/>
          <p:nvPr/>
        </p:nvPicPr>
        <p:blipFill>
          <a:blip r:embed="rId7" cstate="print"/>
          <a:stretch>
            <a:fillRect/>
          </a:stretch>
        </p:blipFill>
        <p:spPr>
          <a:xfrm>
            <a:off x="3128772" y="1588008"/>
            <a:ext cx="2494788" cy="1417320"/>
          </a:xfrm>
          <a:prstGeom prst="rect">
            <a:avLst/>
          </a:prstGeom>
        </p:spPr>
      </p:pic>
      <p:pic>
        <p:nvPicPr>
          <p:cNvPr id="9" name="object 9"/>
          <p:cNvPicPr/>
          <p:nvPr/>
        </p:nvPicPr>
        <p:blipFill>
          <a:blip r:embed="rId8" cstate="print"/>
          <a:stretch>
            <a:fillRect/>
          </a:stretch>
        </p:blipFill>
        <p:spPr>
          <a:xfrm>
            <a:off x="3128772" y="3325367"/>
            <a:ext cx="2494788" cy="1417319"/>
          </a:xfrm>
          <a:prstGeom prst="rect">
            <a:avLst/>
          </a:prstGeom>
        </p:spPr>
      </p:pic>
      <p:pic>
        <p:nvPicPr>
          <p:cNvPr id="10" name="object 10"/>
          <p:cNvPicPr/>
          <p:nvPr/>
        </p:nvPicPr>
        <p:blipFill>
          <a:blip r:embed="rId9" cstate="print"/>
          <a:stretch>
            <a:fillRect/>
          </a:stretch>
        </p:blipFill>
        <p:spPr>
          <a:xfrm>
            <a:off x="7604759" y="4517135"/>
            <a:ext cx="3764279" cy="2090927"/>
          </a:xfrm>
          <a:prstGeom prst="rect">
            <a:avLst/>
          </a:prstGeom>
        </p:spPr>
      </p:pic>
      <p:sp>
        <p:nvSpPr>
          <p:cNvPr id="11" name="object 11"/>
          <p:cNvSpPr txBox="1">
            <a:spLocks noGrp="1"/>
          </p:cNvSpPr>
          <p:nvPr>
            <p:ph type="title"/>
          </p:nvPr>
        </p:nvSpPr>
        <p:spPr>
          <a:xfrm>
            <a:off x="814832" y="432257"/>
            <a:ext cx="1830070" cy="605790"/>
          </a:xfrm>
          <a:prstGeom prst="rect">
            <a:avLst/>
          </a:prstGeom>
        </p:spPr>
        <p:txBody>
          <a:bodyPr vert="horz" wrap="square" lIns="0" tIns="13335" rIns="0" bIns="0" rtlCol="0">
            <a:spAutoFit/>
          </a:bodyPr>
          <a:lstStyle/>
          <a:p>
            <a:pPr marL="12700">
              <a:lnSpc>
                <a:spcPct val="100000"/>
              </a:lnSpc>
              <a:spcBef>
                <a:spcPts val="105"/>
              </a:spcBef>
              <a:tabLst>
                <a:tab pos="471170" algn="l"/>
                <a:tab pos="992505" algn="l"/>
                <a:tab pos="1551305" algn="l"/>
              </a:tabLst>
            </a:pPr>
            <a:r>
              <a:rPr sz="3800" b="1" spc="254" dirty="0">
                <a:latin typeface="Calibri"/>
                <a:cs typeface="Calibri"/>
              </a:rPr>
              <a:t>S</a:t>
            </a:r>
            <a:r>
              <a:rPr sz="3800" b="1" dirty="0">
                <a:latin typeface="Calibri"/>
                <a:cs typeface="Calibri"/>
              </a:rPr>
              <a:t>	</a:t>
            </a:r>
            <a:r>
              <a:rPr sz="3800" b="1" spc="-60" dirty="0">
                <a:latin typeface="Calibri"/>
                <a:cs typeface="Calibri"/>
              </a:rPr>
              <a:t>O</a:t>
            </a:r>
            <a:r>
              <a:rPr sz="3800" b="1" dirty="0">
                <a:latin typeface="Calibri"/>
                <a:cs typeface="Calibri"/>
              </a:rPr>
              <a:t>	</a:t>
            </a:r>
            <a:r>
              <a:rPr sz="3800" b="1" spc="-484" dirty="0">
                <a:latin typeface="Calibri"/>
                <a:cs typeface="Calibri"/>
              </a:rPr>
              <a:t>M</a:t>
            </a:r>
            <a:r>
              <a:rPr sz="3800" b="1" dirty="0">
                <a:latin typeface="Calibri"/>
                <a:cs typeface="Calibri"/>
              </a:rPr>
              <a:t>	</a:t>
            </a:r>
            <a:r>
              <a:rPr sz="3800" b="1" spc="170" dirty="0">
                <a:latin typeface="Calibri"/>
                <a:cs typeface="Calibri"/>
              </a:rPr>
              <a:t>E</a:t>
            </a:r>
            <a:endParaRPr sz="3800">
              <a:latin typeface="Calibri"/>
              <a:cs typeface="Calibri"/>
            </a:endParaRPr>
          </a:p>
        </p:txBody>
      </p:sp>
      <p:sp>
        <p:nvSpPr>
          <p:cNvPr id="12" name="object 12"/>
          <p:cNvSpPr txBox="1"/>
          <p:nvPr/>
        </p:nvSpPr>
        <p:spPr>
          <a:xfrm>
            <a:off x="3057473" y="432257"/>
            <a:ext cx="7848600" cy="1059180"/>
          </a:xfrm>
          <a:prstGeom prst="rect">
            <a:avLst/>
          </a:prstGeom>
        </p:spPr>
        <p:txBody>
          <a:bodyPr vert="horz" wrap="square" lIns="0" tIns="13335" rIns="0" bIns="0" rtlCol="0">
            <a:spAutoFit/>
          </a:bodyPr>
          <a:lstStyle/>
          <a:p>
            <a:pPr marL="50800" marR="0" lvl="0" indent="0" defTabSz="914400" eaLnBrk="1" fontAlgn="auto" latinLnBrk="0" hangingPunct="1">
              <a:lnSpc>
                <a:spcPct val="100000"/>
              </a:lnSpc>
              <a:spcBef>
                <a:spcPts val="105"/>
              </a:spcBef>
              <a:spcAft>
                <a:spcPts val="0"/>
              </a:spcAft>
              <a:buClrTx/>
              <a:buSzTx/>
              <a:buFontTx/>
              <a:buNone/>
              <a:tabLst>
                <a:tab pos="571500" algn="l"/>
                <a:tab pos="1301115" algn="l"/>
                <a:tab pos="1759585" algn="l"/>
                <a:tab pos="2275840" algn="l"/>
                <a:tab pos="3017520" algn="l"/>
                <a:tab pos="3488690" algn="l"/>
                <a:tab pos="4004945" algn="l"/>
                <a:tab pos="4472305" algn="l"/>
                <a:tab pos="4912360" algn="l"/>
                <a:tab pos="5353050" algn="l"/>
                <a:tab pos="5808345" algn="l"/>
                <a:tab pos="6320155" algn="l"/>
                <a:tab pos="6818630" algn="l"/>
                <a:tab pos="7273925" algn="l"/>
              </a:tabLst>
              <a:defRPr/>
            </a:pPr>
            <a:r>
              <a:rPr kumimoji="0" sz="3800" b="1" i="0" u="none" strike="noStrike" kern="0" cap="none" spc="-50" normalizeH="0" baseline="0" noProof="0" dirty="0">
                <a:ln>
                  <a:noFill/>
                </a:ln>
                <a:solidFill>
                  <a:srgbClr val="FFFFFF"/>
                </a:solidFill>
                <a:effectLst/>
                <a:uLnTx/>
                <a:uFillTx/>
                <a:latin typeface="Calibri"/>
                <a:cs typeface="Calibri"/>
              </a:rPr>
              <a:t>O</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175" normalizeH="0" baseline="0" noProof="0" dirty="0">
                <a:ln>
                  <a:noFill/>
                </a:ln>
                <a:solidFill>
                  <a:srgbClr val="FFFFFF"/>
                </a:solidFill>
                <a:effectLst/>
                <a:uLnTx/>
                <a:uFillTx/>
                <a:latin typeface="Calibri"/>
                <a:cs typeface="Calibri"/>
              </a:rPr>
              <a:t>F</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175" normalizeH="0" baseline="0" noProof="0" dirty="0">
                <a:ln>
                  <a:noFill/>
                </a:ln>
                <a:solidFill>
                  <a:srgbClr val="FFFFFF"/>
                </a:solidFill>
                <a:effectLst/>
                <a:uLnTx/>
                <a:uFillTx/>
                <a:latin typeface="Calibri"/>
                <a:cs typeface="Calibri"/>
              </a:rPr>
              <a:t>T</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80" normalizeH="0" baseline="0" noProof="0" dirty="0">
                <a:ln>
                  <a:noFill/>
                </a:ln>
                <a:solidFill>
                  <a:srgbClr val="FFFFFF"/>
                </a:solidFill>
                <a:effectLst/>
                <a:uLnTx/>
                <a:uFillTx/>
                <a:latin typeface="Calibri"/>
                <a:cs typeface="Calibri"/>
              </a:rPr>
              <a:t>H</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170" normalizeH="0" baseline="0" noProof="0" dirty="0">
                <a:ln>
                  <a:noFill/>
                </a:ln>
                <a:solidFill>
                  <a:srgbClr val="FFFFFF"/>
                </a:solidFill>
                <a:effectLst/>
                <a:uLnTx/>
                <a:uFillTx/>
                <a:latin typeface="Calibri"/>
                <a:cs typeface="Calibri"/>
              </a:rPr>
              <a:t>E</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150" normalizeH="0" baseline="0" noProof="0" dirty="0">
                <a:ln>
                  <a:noFill/>
                </a:ln>
                <a:solidFill>
                  <a:srgbClr val="FFFFFF"/>
                </a:solidFill>
                <a:effectLst/>
                <a:uLnTx/>
                <a:uFillTx/>
                <a:latin typeface="Calibri"/>
                <a:cs typeface="Calibri"/>
              </a:rPr>
              <a:t>C</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90" normalizeH="0" baseline="0" noProof="0" dirty="0">
                <a:ln>
                  <a:noFill/>
                </a:ln>
                <a:solidFill>
                  <a:srgbClr val="FFFFFF"/>
                </a:solidFill>
                <a:effectLst/>
                <a:uLnTx/>
                <a:uFillTx/>
                <a:latin typeface="Calibri"/>
                <a:cs typeface="Calibri"/>
              </a:rPr>
              <a:t>H</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50" normalizeH="0" baseline="0" noProof="0" dirty="0">
                <a:ln>
                  <a:noFill/>
                </a:ln>
                <a:solidFill>
                  <a:srgbClr val="FFFFFF"/>
                </a:solidFill>
                <a:effectLst/>
                <a:uLnTx/>
                <a:uFillTx/>
                <a:latin typeface="Calibri"/>
                <a:cs typeface="Calibri"/>
              </a:rPr>
              <a:t>A</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300" normalizeH="0" baseline="0" noProof="0" dirty="0">
                <a:ln>
                  <a:noFill/>
                </a:ln>
                <a:solidFill>
                  <a:srgbClr val="FFFFFF"/>
                </a:solidFill>
                <a:effectLst/>
                <a:uLnTx/>
                <a:uFillTx/>
                <a:latin typeface="Calibri"/>
                <a:cs typeface="Calibri"/>
              </a:rPr>
              <a:t>L</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300" normalizeH="0" baseline="0" noProof="0" dirty="0">
                <a:ln>
                  <a:noFill/>
                </a:ln>
                <a:solidFill>
                  <a:srgbClr val="FFFFFF"/>
                </a:solidFill>
                <a:effectLst/>
                <a:uLnTx/>
                <a:uFillTx/>
                <a:latin typeface="Calibri"/>
                <a:cs typeface="Calibri"/>
              </a:rPr>
              <a:t>L</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170" normalizeH="0" baseline="0" noProof="0" dirty="0">
                <a:ln>
                  <a:noFill/>
                </a:ln>
                <a:solidFill>
                  <a:srgbClr val="FFFFFF"/>
                </a:solidFill>
                <a:effectLst/>
                <a:uLnTx/>
                <a:uFillTx/>
                <a:latin typeface="Calibri"/>
                <a:cs typeface="Calibri"/>
              </a:rPr>
              <a:t>E</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50" normalizeH="0" baseline="0" noProof="0" dirty="0">
                <a:ln>
                  <a:noFill/>
                </a:ln>
                <a:solidFill>
                  <a:srgbClr val="FFFFFF"/>
                </a:solidFill>
                <a:effectLst/>
                <a:uLnTx/>
                <a:uFillTx/>
                <a:latin typeface="Calibri"/>
                <a:cs typeface="Calibri"/>
              </a:rPr>
              <a:t>N</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50" normalizeH="0" baseline="0" noProof="0" dirty="0">
                <a:ln>
                  <a:noFill/>
                </a:ln>
                <a:solidFill>
                  <a:srgbClr val="FFFFFF"/>
                </a:solidFill>
                <a:effectLst/>
                <a:uLnTx/>
                <a:uFillTx/>
                <a:latin typeface="Calibri"/>
                <a:cs typeface="Calibri"/>
              </a:rPr>
              <a:t>G</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170" normalizeH="0" baseline="0" noProof="0" dirty="0">
                <a:ln>
                  <a:noFill/>
                </a:ln>
                <a:solidFill>
                  <a:srgbClr val="FFFFFF"/>
                </a:solidFill>
                <a:effectLst/>
                <a:uLnTx/>
                <a:uFillTx/>
                <a:latin typeface="Calibri"/>
                <a:cs typeface="Calibri"/>
              </a:rPr>
              <a:t>E</a:t>
            </a:r>
            <a:r>
              <a:rPr kumimoji="0" sz="3800" b="1" i="0" u="none" strike="noStrike" kern="0" cap="none" spc="0" normalizeH="0" baseline="0" noProof="0" dirty="0">
                <a:ln>
                  <a:noFill/>
                </a:ln>
                <a:solidFill>
                  <a:srgbClr val="FFFFFF"/>
                </a:solidFill>
                <a:effectLst/>
                <a:uLnTx/>
                <a:uFillTx/>
                <a:latin typeface="Calibri"/>
                <a:cs typeface="Calibri"/>
              </a:rPr>
              <a:t>	</a:t>
            </a:r>
            <a:r>
              <a:rPr kumimoji="0" sz="3800" b="1" i="0" u="none" strike="noStrike" kern="0" cap="none" spc="254" normalizeH="0" baseline="0" noProof="0" dirty="0">
                <a:ln>
                  <a:noFill/>
                </a:ln>
                <a:solidFill>
                  <a:srgbClr val="FFFFFF"/>
                </a:solidFill>
                <a:effectLst/>
                <a:uLnTx/>
                <a:uFillTx/>
                <a:latin typeface="Calibri"/>
                <a:cs typeface="Calibri"/>
              </a:rPr>
              <a:t>S</a:t>
            </a:r>
            <a:endParaRPr kumimoji="0" sz="3800" b="0" i="0" u="none" strike="noStrike" kern="0" cap="none" spc="0" normalizeH="0" baseline="0" noProof="0">
              <a:ln>
                <a:noFill/>
              </a:ln>
              <a:solidFill>
                <a:sysClr val="windowText" lastClr="000000"/>
              </a:solidFill>
              <a:effectLst/>
              <a:uLnTx/>
              <a:uFillTx/>
              <a:latin typeface="Calibri"/>
              <a:cs typeface="Calibri"/>
            </a:endParaRPr>
          </a:p>
          <a:p>
            <a:pPr marL="100965" marR="0" lvl="0" indent="0" defTabSz="914400" eaLnBrk="1" fontAlgn="auto" latinLnBrk="0" hangingPunct="1">
              <a:lnSpc>
                <a:spcPct val="100000"/>
              </a:lnSpc>
              <a:spcBef>
                <a:spcPts val="1650"/>
              </a:spcBef>
              <a:spcAft>
                <a:spcPts val="0"/>
              </a:spcAft>
              <a:buClrTx/>
              <a:buSzTx/>
              <a:buFontTx/>
              <a:buNone/>
              <a:tabLst>
                <a:tab pos="402590" algn="l"/>
                <a:tab pos="727075" algn="l"/>
                <a:tab pos="4944745" algn="l"/>
                <a:tab pos="5262880" algn="l"/>
                <a:tab pos="5564505" algn="l"/>
                <a:tab pos="5868035" algn="l"/>
                <a:tab pos="6169660" algn="l"/>
                <a:tab pos="6464935" algn="l"/>
                <a:tab pos="6793865" algn="l"/>
                <a:tab pos="7104380" algn="l"/>
                <a:tab pos="7355840" algn="l"/>
                <a:tab pos="7680325" algn="l"/>
              </a:tabLst>
              <a:defRPr/>
            </a:pPr>
            <a:r>
              <a:rPr kumimoji="0" sz="2400" b="1" i="0" u="none" strike="noStrike" kern="0" cap="none" spc="60" normalizeH="0" baseline="8680" noProof="0" dirty="0">
                <a:ln>
                  <a:noFill/>
                </a:ln>
                <a:solidFill>
                  <a:srgbClr val="FFFFFF"/>
                </a:solidFill>
                <a:effectLst/>
                <a:uLnTx/>
                <a:uFillTx/>
                <a:latin typeface="Calibri"/>
                <a:cs typeface="Calibri"/>
              </a:rPr>
              <a:t>E</a:t>
            </a:r>
            <a:r>
              <a:rPr kumimoji="0" sz="2400" b="1" i="0" u="none" strike="noStrike" kern="0" cap="none" spc="0" normalizeH="0" baseline="8680" noProof="0" dirty="0">
                <a:ln>
                  <a:noFill/>
                </a:ln>
                <a:solidFill>
                  <a:srgbClr val="FFFFFF"/>
                </a:solidFill>
                <a:effectLst/>
                <a:uLnTx/>
                <a:uFillTx/>
                <a:latin typeface="Calibri"/>
                <a:cs typeface="Calibri"/>
              </a:rPr>
              <a:t>	</a:t>
            </a:r>
            <a:r>
              <a:rPr kumimoji="0" sz="2400" b="1" i="0" u="none" strike="noStrike" kern="0" cap="none" spc="-75" normalizeH="0" baseline="8680" noProof="0" dirty="0">
                <a:ln>
                  <a:noFill/>
                </a:ln>
                <a:solidFill>
                  <a:srgbClr val="FFFFFF"/>
                </a:solidFill>
                <a:effectLst/>
                <a:uLnTx/>
                <a:uFillTx/>
                <a:latin typeface="Calibri"/>
                <a:cs typeface="Calibri"/>
              </a:rPr>
              <a:t>N</a:t>
            </a:r>
            <a:r>
              <a:rPr kumimoji="0" sz="2400" b="1" i="0" u="none" strike="noStrike" kern="0" cap="none" spc="0" normalizeH="0" baseline="8680" noProof="0" dirty="0">
                <a:ln>
                  <a:noFill/>
                </a:ln>
                <a:solidFill>
                  <a:srgbClr val="FFFFFF"/>
                </a:solidFill>
                <a:effectLst/>
                <a:uLnTx/>
                <a:uFillTx/>
                <a:latin typeface="Calibri"/>
                <a:cs typeface="Calibri"/>
              </a:rPr>
              <a:t>	</a:t>
            </a:r>
            <a:r>
              <a:rPr kumimoji="0" sz="2400" b="1" i="0" u="none" strike="noStrike" kern="0" cap="none" spc="60" normalizeH="0" baseline="8680" noProof="0" dirty="0">
                <a:ln>
                  <a:noFill/>
                </a:ln>
                <a:solidFill>
                  <a:srgbClr val="FFFFFF"/>
                </a:solidFill>
                <a:effectLst/>
                <a:uLnTx/>
                <a:uFillTx/>
                <a:latin typeface="Calibri"/>
                <a:cs typeface="Calibri"/>
              </a:rPr>
              <a:t>T</a:t>
            </a:r>
            <a:r>
              <a:rPr kumimoji="0" sz="2400" b="1" i="0" u="none" strike="noStrike" kern="0" cap="none" spc="0" normalizeH="0" baseline="8680" noProof="0" dirty="0">
                <a:ln>
                  <a:noFill/>
                </a:ln>
                <a:solidFill>
                  <a:srgbClr val="FFFFFF"/>
                </a:solidFill>
                <a:effectLst/>
                <a:uLnTx/>
                <a:uFillTx/>
                <a:latin typeface="Calibri"/>
                <a:cs typeface="Calibri"/>
              </a:rPr>
              <a:t>	</a:t>
            </a:r>
            <a:r>
              <a:rPr kumimoji="0" sz="1600" b="1" i="0" u="none" strike="noStrike" kern="0" cap="none" spc="-50" normalizeH="0" baseline="0" noProof="0" dirty="0">
                <a:ln>
                  <a:noFill/>
                </a:ln>
                <a:solidFill>
                  <a:srgbClr val="FFFFFF"/>
                </a:solidFill>
                <a:effectLst/>
                <a:uLnTx/>
                <a:uFillTx/>
                <a:latin typeface="Calibri"/>
                <a:cs typeface="Calibri"/>
              </a:rPr>
              <a:t>D</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40" normalizeH="0" baseline="0" noProof="0" dirty="0">
                <a:ln>
                  <a:noFill/>
                </a:ln>
                <a:solidFill>
                  <a:srgbClr val="FFFFFF"/>
                </a:solidFill>
                <a:effectLst/>
                <a:uLnTx/>
                <a:uFillTx/>
                <a:latin typeface="Calibri"/>
                <a:cs typeface="Calibri"/>
              </a:rPr>
              <a:t>E</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50" normalizeH="0" baseline="0" noProof="0" dirty="0">
                <a:ln>
                  <a:noFill/>
                </a:ln>
                <a:solidFill>
                  <a:srgbClr val="FFFFFF"/>
                </a:solidFill>
                <a:effectLst/>
                <a:uLnTx/>
                <a:uFillTx/>
                <a:latin typeface="Calibri"/>
                <a:cs typeface="Calibri"/>
              </a:rPr>
              <a:t>V</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40" normalizeH="0" baseline="0" noProof="0" dirty="0">
                <a:ln>
                  <a:noFill/>
                </a:ln>
                <a:solidFill>
                  <a:srgbClr val="FFFFFF"/>
                </a:solidFill>
                <a:effectLst/>
                <a:uLnTx/>
                <a:uFillTx/>
                <a:latin typeface="Calibri"/>
                <a:cs typeface="Calibri"/>
              </a:rPr>
              <a:t>E</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95" normalizeH="0" baseline="0" noProof="0" dirty="0">
                <a:ln>
                  <a:noFill/>
                </a:ln>
                <a:solidFill>
                  <a:srgbClr val="FFFFFF"/>
                </a:solidFill>
                <a:effectLst/>
                <a:uLnTx/>
                <a:uFillTx/>
                <a:latin typeface="Calibri"/>
                <a:cs typeface="Calibri"/>
              </a:rPr>
              <a:t>L</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50" normalizeH="0" baseline="0" noProof="0" dirty="0">
                <a:ln>
                  <a:noFill/>
                </a:ln>
                <a:solidFill>
                  <a:srgbClr val="FFFFFF"/>
                </a:solidFill>
                <a:effectLst/>
                <a:uLnTx/>
                <a:uFillTx/>
                <a:latin typeface="Calibri"/>
                <a:cs typeface="Calibri"/>
              </a:rPr>
              <a:t>O</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40" normalizeH="0" baseline="0" noProof="0" dirty="0">
                <a:ln>
                  <a:noFill/>
                </a:ln>
                <a:solidFill>
                  <a:srgbClr val="FFFFFF"/>
                </a:solidFill>
                <a:effectLst/>
                <a:uLnTx/>
                <a:uFillTx/>
                <a:latin typeface="Calibri"/>
                <a:cs typeface="Calibri"/>
              </a:rPr>
              <a:t>P</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5" normalizeH="0" baseline="0" noProof="0" dirty="0">
                <a:ln>
                  <a:noFill/>
                </a:ln>
                <a:solidFill>
                  <a:srgbClr val="FFFFFF"/>
                </a:solidFill>
                <a:effectLst/>
                <a:uLnTx/>
                <a:uFillTx/>
                <a:latin typeface="Calibri"/>
                <a:cs typeface="Calibri"/>
              </a:rPr>
              <a:t>I</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50" normalizeH="0" baseline="0" noProof="0" dirty="0">
                <a:ln>
                  <a:noFill/>
                </a:ln>
                <a:solidFill>
                  <a:srgbClr val="FFFFFF"/>
                </a:solidFill>
                <a:effectLst/>
                <a:uLnTx/>
                <a:uFillTx/>
                <a:latin typeface="Calibri"/>
                <a:cs typeface="Calibri"/>
              </a:rPr>
              <a:t>N</a:t>
            </a:r>
            <a:r>
              <a:rPr kumimoji="0" sz="1600" b="1" i="0" u="none" strike="noStrike" kern="0" cap="none" spc="0" normalizeH="0" baseline="0" noProof="0" dirty="0">
                <a:ln>
                  <a:noFill/>
                </a:ln>
                <a:solidFill>
                  <a:srgbClr val="FFFFFF"/>
                </a:solidFill>
                <a:effectLst/>
                <a:uLnTx/>
                <a:uFillTx/>
                <a:latin typeface="Calibri"/>
                <a:cs typeface="Calibri"/>
              </a:rPr>
              <a:t>	</a:t>
            </a:r>
            <a:r>
              <a:rPr kumimoji="0" sz="1600" b="1" i="0" u="none" strike="noStrike" kern="0" cap="none" spc="-50" normalizeH="0" baseline="0" noProof="0" dirty="0">
                <a:ln>
                  <a:noFill/>
                </a:ln>
                <a:solidFill>
                  <a:srgbClr val="FFFFFF"/>
                </a:solidFill>
                <a:effectLst/>
                <a:uLnTx/>
                <a:uFillTx/>
                <a:latin typeface="Calibri"/>
                <a:cs typeface="Calibri"/>
              </a:rPr>
              <a:t>G</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99568" rIns="0" bIns="0" rtlCol="0">
            <a:spAutoFit/>
          </a:bodyPr>
          <a:lstStyle/>
          <a:p>
            <a:pPr marL="114300">
              <a:lnSpc>
                <a:spcPct val="100000"/>
              </a:lnSpc>
              <a:spcBef>
                <a:spcPts val="105"/>
              </a:spcBef>
            </a:pPr>
            <a:r>
              <a:rPr spc="85" dirty="0"/>
              <a:t>The</a:t>
            </a:r>
            <a:r>
              <a:rPr spc="-110" dirty="0"/>
              <a:t> </a:t>
            </a:r>
            <a:r>
              <a:rPr spc="75" dirty="0"/>
              <a:t>Problems</a:t>
            </a:r>
          </a:p>
        </p:txBody>
      </p:sp>
      <p:sp>
        <p:nvSpPr>
          <p:cNvPr id="3" name="object 3"/>
          <p:cNvSpPr txBox="1"/>
          <p:nvPr/>
        </p:nvSpPr>
        <p:spPr>
          <a:xfrm>
            <a:off x="333857" y="2540718"/>
            <a:ext cx="11468735" cy="3357245"/>
          </a:xfrm>
          <a:prstGeom prst="rect">
            <a:avLst/>
          </a:prstGeom>
        </p:spPr>
        <p:txBody>
          <a:bodyPr vert="horz" wrap="square" lIns="0" tIns="89535" rIns="0" bIns="0" rtlCol="0">
            <a:spAutoFit/>
          </a:bodyPr>
          <a:lstStyle/>
          <a:p>
            <a:pPr marL="278765" marR="0" lvl="0" indent="-227965" defTabSz="914400" eaLnBrk="1" fontAlgn="auto" latinLnBrk="0" hangingPunct="1">
              <a:lnSpc>
                <a:spcPct val="100000"/>
              </a:lnSpc>
              <a:spcBef>
                <a:spcPts val="705"/>
              </a:spcBef>
              <a:spcAft>
                <a:spcPts val="0"/>
              </a:spcAft>
              <a:buClrTx/>
              <a:buSzTx/>
              <a:buFont typeface="Arial"/>
              <a:buChar char="•"/>
              <a:tabLst>
                <a:tab pos="278765" algn="l"/>
              </a:tabLst>
              <a:defRPr/>
            </a:pPr>
            <a:r>
              <a:rPr kumimoji="0" sz="3200" b="0" i="0" u="none" strike="noStrike" kern="0" cap="none" spc="-10" normalizeH="0" baseline="0" noProof="0" dirty="0">
                <a:ln>
                  <a:noFill/>
                </a:ln>
                <a:solidFill>
                  <a:srgbClr val="FFFFFF"/>
                </a:solidFill>
                <a:effectLst/>
                <a:uLnTx/>
                <a:uFillTx/>
                <a:latin typeface="Calibri"/>
                <a:cs typeface="Calibri"/>
              </a:rPr>
              <a:t>Maternal</a:t>
            </a:r>
            <a:r>
              <a:rPr kumimoji="0" sz="3200" b="0" i="0" u="none" strike="noStrike" kern="0" cap="none" spc="-70" normalizeH="0" baseline="0" noProof="0" dirty="0">
                <a:ln>
                  <a:noFill/>
                </a:ln>
                <a:solidFill>
                  <a:srgbClr val="FFFFFF"/>
                </a:solidFill>
                <a:effectLst/>
                <a:uLnTx/>
                <a:uFillTx/>
                <a:latin typeface="Calibri"/>
                <a:cs typeface="Calibri"/>
              </a:rPr>
              <a:t> </a:t>
            </a:r>
            <a:r>
              <a:rPr kumimoji="0" sz="3200" b="0" i="0" u="none" strike="noStrike" kern="0" cap="none" spc="-250" normalizeH="0" baseline="0" noProof="0" dirty="0">
                <a:ln>
                  <a:noFill/>
                </a:ln>
                <a:solidFill>
                  <a:srgbClr val="FFFFFF"/>
                </a:solidFill>
                <a:effectLst/>
                <a:uLnTx/>
                <a:uFillTx/>
                <a:latin typeface="Calibri"/>
                <a:cs typeface="Calibri"/>
              </a:rPr>
              <a:t>&amp;</a:t>
            </a:r>
            <a:r>
              <a:rPr kumimoji="0" sz="3200" b="0" i="0" u="none" strike="noStrike" kern="0" cap="none" spc="-70" normalizeH="0" baseline="0" noProof="0" dirty="0">
                <a:ln>
                  <a:noFill/>
                </a:ln>
                <a:solidFill>
                  <a:srgbClr val="FFFFFF"/>
                </a:solidFill>
                <a:effectLst/>
                <a:uLnTx/>
                <a:uFillTx/>
                <a:latin typeface="Calibri"/>
                <a:cs typeface="Calibri"/>
              </a:rPr>
              <a:t> </a:t>
            </a:r>
            <a:r>
              <a:rPr kumimoji="0" sz="3200" b="0" i="0" u="none" strike="noStrike" kern="0" cap="none" spc="50" normalizeH="0" baseline="0" noProof="0" dirty="0">
                <a:ln>
                  <a:noFill/>
                </a:ln>
                <a:solidFill>
                  <a:srgbClr val="FFFFFF"/>
                </a:solidFill>
                <a:effectLst/>
                <a:uLnTx/>
                <a:uFillTx/>
                <a:latin typeface="Calibri"/>
                <a:cs typeface="Calibri"/>
              </a:rPr>
              <a:t>Birth</a:t>
            </a:r>
            <a:r>
              <a:rPr kumimoji="0" sz="3200" b="0" i="0" u="none" strike="noStrike" kern="0" cap="none" spc="-55" normalizeH="0" baseline="0" noProof="0" dirty="0">
                <a:ln>
                  <a:noFill/>
                </a:ln>
                <a:solidFill>
                  <a:srgbClr val="FFFFFF"/>
                </a:solidFill>
                <a:effectLst/>
                <a:uLnTx/>
                <a:uFillTx/>
                <a:latin typeface="Calibri"/>
                <a:cs typeface="Calibri"/>
              </a:rPr>
              <a:t> </a:t>
            </a:r>
            <a:r>
              <a:rPr kumimoji="0" sz="3200" b="0" i="0" u="none" strike="noStrike" kern="0" cap="none" spc="50" normalizeH="0" baseline="0" noProof="0" dirty="0">
                <a:ln>
                  <a:noFill/>
                </a:ln>
                <a:solidFill>
                  <a:srgbClr val="FFFFFF"/>
                </a:solidFill>
                <a:effectLst/>
                <a:uLnTx/>
                <a:uFillTx/>
                <a:latin typeface="Calibri"/>
                <a:cs typeface="Calibri"/>
              </a:rPr>
              <a:t>Outcomes</a:t>
            </a:r>
            <a:r>
              <a:rPr kumimoji="0" sz="3200" b="0" i="0" u="none" strike="noStrike" kern="0" cap="none" spc="-7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re</a:t>
            </a:r>
            <a:r>
              <a:rPr kumimoji="0" sz="3200" b="0" i="0" u="none" strike="noStrike" kern="0" cap="none" spc="-5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not</a:t>
            </a:r>
            <a:r>
              <a:rPr kumimoji="0" sz="3200" b="0" i="0" u="none" strike="noStrike" kern="0" cap="none" spc="-55" normalizeH="0" baseline="0" noProof="0" dirty="0">
                <a:ln>
                  <a:noFill/>
                </a:ln>
                <a:solidFill>
                  <a:srgbClr val="FFFFFF"/>
                </a:solidFill>
                <a:effectLst/>
                <a:uLnTx/>
                <a:uFillTx/>
                <a:latin typeface="Calibri"/>
                <a:cs typeface="Calibri"/>
              </a:rPr>
              <a:t> </a:t>
            </a:r>
            <a:r>
              <a:rPr kumimoji="0" sz="3200" b="0" i="0" u="none" strike="noStrike" kern="0" cap="none" spc="55" normalizeH="0" baseline="0" noProof="0" dirty="0">
                <a:ln>
                  <a:noFill/>
                </a:ln>
                <a:solidFill>
                  <a:srgbClr val="FFFFFF"/>
                </a:solidFill>
                <a:effectLst/>
                <a:uLnTx/>
                <a:uFillTx/>
                <a:latin typeface="Calibri"/>
                <a:cs typeface="Calibri"/>
              </a:rPr>
              <a:t>improving</a:t>
            </a:r>
            <a:r>
              <a:rPr kumimoji="0" sz="3200" b="0" i="0" u="none" strike="noStrike" kern="0" cap="none" spc="-7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in</a:t>
            </a:r>
            <a:r>
              <a:rPr kumimoji="0" sz="3200" b="0" i="0" u="none" strike="noStrike" kern="0" cap="none" spc="-5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the</a:t>
            </a:r>
            <a:r>
              <a:rPr kumimoji="0" sz="3200" b="0" i="0" u="none" strike="noStrike" kern="0" cap="none" spc="-70" normalizeH="0" baseline="0" noProof="0" dirty="0">
                <a:ln>
                  <a:noFill/>
                </a:ln>
                <a:solidFill>
                  <a:srgbClr val="FFFFFF"/>
                </a:solidFill>
                <a:effectLst/>
                <a:uLnTx/>
                <a:uFillTx/>
                <a:latin typeface="Calibri"/>
                <a:cs typeface="Calibri"/>
              </a:rPr>
              <a:t> </a:t>
            </a:r>
            <a:r>
              <a:rPr kumimoji="0" sz="3200" b="0" i="0" u="none" strike="noStrike" kern="0" cap="none" spc="95" normalizeH="0" baseline="0" noProof="0" dirty="0">
                <a:ln>
                  <a:noFill/>
                </a:ln>
                <a:solidFill>
                  <a:srgbClr val="FFFFFF"/>
                </a:solidFill>
                <a:effectLst/>
                <a:uLnTx/>
                <a:uFillTx/>
                <a:latin typeface="Calibri"/>
                <a:cs typeface="Calibri"/>
              </a:rPr>
              <a:t>US</a:t>
            </a:r>
            <a:endParaRPr kumimoji="0" sz="3200" b="0" i="0" u="none" strike="noStrike" kern="0" cap="none" spc="0" normalizeH="0" baseline="0" noProof="0">
              <a:ln>
                <a:noFill/>
              </a:ln>
              <a:solidFill>
                <a:sysClr val="windowText" lastClr="000000"/>
              </a:solidFill>
              <a:effectLst/>
              <a:uLnTx/>
              <a:uFillTx/>
              <a:latin typeface="Calibri"/>
              <a:cs typeface="Calibri"/>
            </a:endParaRPr>
          </a:p>
          <a:p>
            <a:pPr marL="279400" marR="0" lvl="0" indent="-228600" defTabSz="914400" eaLnBrk="1" fontAlgn="auto" latinLnBrk="0" hangingPunct="1">
              <a:lnSpc>
                <a:spcPct val="100000"/>
              </a:lnSpc>
              <a:spcBef>
                <a:spcPts val="615"/>
              </a:spcBef>
              <a:spcAft>
                <a:spcPts val="0"/>
              </a:spcAft>
              <a:buClrTx/>
              <a:buSzTx/>
              <a:buFont typeface="Arial"/>
              <a:buChar char="•"/>
              <a:tabLst>
                <a:tab pos="279400" algn="l"/>
              </a:tabLst>
              <a:defRPr/>
            </a:pPr>
            <a:r>
              <a:rPr kumimoji="0" sz="3200" b="0" i="0" u="none" strike="noStrike" kern="0" cap="none" spc="0" normalizeH="0" baseline="0" noProof="0" dirty="0">
                <a:ln>
                  <a:noFill/>
                </a:ln>
                <a:solidFill>
                  <a:srgbClr val="FFFFFF"/>
                </a:solidFill>
                <a:effectLst/>
                <a:uLnTx/>
                <a:uFillTx/>
                <a:latin typeface="Calibri"/>
                <a:cs typeface="Calibri"/>
              </a:rPr>
              <a:t>Obstetric</a:t>
            </a:r>
            <a:r>
              <a:rPr kumimoji="0" sz="3200" b="0" i="0" u="none" strike="noStrike" kern="0" cap="none" spc="-10" normalizeH="0" baseline="0" noProof="0" dirty="0">
                <a:ln>
                  <a:noFill/>
                </a:ln>
                <a:solidFill>
                  <a:srgbClr val="FFFFFF"/>
                </a:solidFill>
                <a:effectLst/>
                <a:uLnTx/>
                <a:uFillTx/>
                <a:latin typeface="Calibri"/>
                <a:cs typeface="Calibri"/>
              </a:rPr>
              <a:t> </a:t>
            </a:r>
            <a:r>
              <a:rPr kumimoji="0" sz="3200" b="0" i="0" u="none" strike="noStrike" kern="0" cap="none" spc="65" normalizeH="0" baseline="0" noProof="0" dirty="0">
                <a:ln>
                  <a:noFill/>
                </a:ln>
                <a:solidFill>
                  <a:srgbClr val="FFFFFF"/>
                </a:solidFill>
                <a:effectLst/>
                <a:uLnTx/>
                <a:uFillTx/>
                <a:latin typeface="Calibri"/>
                <a:cs typeface="Calibri"/>
              </a:rPr>
              <a:t>costs</a:t>
            </a:r>
            <a:r>
              <a:rPr kumimoji="0" sz="3200" b="0" i="0" u="none" strike="noStrike" kern="0" cap="none" spc="-1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in</a:t>
            </a:r>
            <a:r>
              <a:rPr kumimoji="0" sz="3200" b="0" i="0" u="none" strike="noStrike" kern="0" cap="none" spc="-3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the</a:t>
            </a:r>
            <a:r>
              <a:rPr kumimoji="0" sz="3200" b="0" i="0" u="none" strike="noStrike" kern="0" cap="none" spc="-20" normalizeH="0" baseline="0" noProof="0" dirty="0">
                <a:ln>
                  <a:noFill/>
                </a:ln>
                <a:solidFill>
                  <a:srgbClr val="FFFFFF"/>
                </a:solidFill>
                <a:effectLst/>
                <a:uLnTx/>
                <a:uFillTx/>
                <a:latin typeface="Calibri"/>
                <a:cs typeface="Calibri"/>
              </a:rPr>
              <a:t> </a:t>
            </a:r>
            <a:r>
              <a:rPr kumimoji="0" sz="3200" b="0" i="0" u="none" strike="noStrike" kern="0" cap="none" spc="120" normalizeH="0" baseline="0" noProof="0" dirty="0">
                <a:ln>
                  <a:noFill/>
                </a:ln>
                <a:solidFill>
                  <a:srgbClr val="FFFFFF"/>
                </a:solidFill>
                <a:effectLst/>
                <a:uLnTx/>
                <a:uFillTx/>
                <a:latin typeface="Calibri"/>
                <a:cs typeface="Calibri"/>
              </a:rPr>
              <a:t>US</a:t>
            </a:r>
            <a:r>
              <a:rPr kumimoji="0" sz="3200" b="0" i="0" u="none" strike="noStrike" kern="0" cap="none" spc="-10" normalizeH="0" baseline="0" noProof="0" dirty="0">
                <a:ln>
                  <a:noFill/>
                </a:ln>
                <a:solidFill>
                  <a:srgbClr val="FFFFFF"/>
                </a:solidFill>
                <a:effectLst/>
                <a:uLnTx/>
                <a:uFillTx/>
                <a:latin typeface="Calibri"/>
                <a:cs typeface="Calibri"/>
              </a:rPr>
              <a:t> </a:t>
            </a:r>
            <a:r>
              <a:rPr kumimoji="0" sz="3200" b="0" i="0" u="none" strike="noStrike" kern="0" cap="none" spc="55" normalizeH="0" baseline="0" noProof="0" dirty="0">
                <a:ln>
                  <a:noFill/>
                </a:ln>
                <a:solidFill>
                  <a:srgbClr val="FFFFFF"/>
                </a:solidFill>
                <a:effectLst/>
                <a:uLnTx/>
                <a:uFillTx/>
                <a:latin typeface="Calibri"/>
                <a:cs typeface="Calibri"/>
              </a:rPr>
              <a:t>continuing</a:t>
            </a:r>
            <a:r>
              <a:rPr kumimoji="0" sz="3200" b="0" i="0" u="none" strike="noStrike" kern="0" cap="none" spc="-4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to</a:t>
            </a:r>
            <a:r>
              <a:rPr kumimoji="0" sz="3200" b="0" i="0" u="none" strike="noStrike" kern="0" cap="none" spc="-10" normalizeH="0" baseline="0" noProof="0" dirty="0">
                <a:ln>
                  <a:noFill/>
                </a:ln>
                <a:solidFill>
                  <a:srgbClr val="FFFFFF"/>
                </a:solidFill>
                <a:effectLst/>
                <a:uLnTx/>
                <a:uFillTx/>
                <a:latin typeface="Calibri"/>
                <a:cs typeface="Calibri"/>
              </a:rPr>
              <a:t> increase</a:t>
            </a:r>
            <a:endParaRPr kumimoji="0" sz="3200" b="0" i="0" u="none" strike="noStrike" kern="0" cap="none" spc="0" normalizeH="0" baseline="0" noProof="0">
              <a:ln>
                <a:noFill/>
              </a:ln>
              <a:solidFill>
                <a:sysClr val="windowText" lastClr="000000"/>
              </a:solidFill>
              <a:effectLst/>
              <a:uLnTx/>
              <a:uFillTx/>
              <a:latin typeface="Calibri"/>
              <a:cs typeface="Calibri"/>
            </a:endParaRPr>
          </a:p>
          <a:p>
            <a:pPr marL="278765" marR="0" lvl="0" indent="-227965" defTabSz="914400" eaLnBrk="1" fontAlgn="auto" latinLnBrk="0" hangingPunct="1">
              <a:lnSpc>
                <a:spcPct val="100000"/>
              </a:lnSpc>
              <a:spcBef>
                <a:spcPts val="615"/>
              </a:spcBef>
              <a:spcAft>
                <a:spcPts val="0"/>
              </a:spcAft>
              <a:buClrTx/>
              <a:buSzTx/>
              <a:buFont typeface="Arial"/>
              <a:buChar char="•"/>
              <a:tabLst>
                <a:tab pos="278765" algn="l"/>
              </a:tabLst>
              <a:defRPr/>
            </a:pPr>
            <a:r>
              <a:rPr kumimoji="0" sz="3200" b="0" i="0" u="none" strike="noStrike" kern="0" cap="none" spc="120" normalizeH="0" baseline="0" noProof="0" dirty="0">
                <a:ln>
                  <a:noFill/>
                </a:ln>
                <a:solidFill>
                  <a:srgbClr val="FFFFFF"/>
                </a:solidFill>
                <a:effectLst/>
                <a:uLnTx/>
                <a:uFillTx/>
                <a:latin typeface="Calibri"/>
                <a:cs typeface="Calibri"/>
              </a:rPr>
              <a:t>US</a:t>
            </a:r>
            <a:r>
              <a:rPr kumimoji="0" sz="3200" b="0" i="0" u="none" strike="noStrike" kern="0" cap="none" spc="3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outcomes</a:t>
            </a:r>
            <a:r>
              <a:rPr kumimoji="0" sz="3200" b="0" i="0" u="none" strike="noStrike" kern="0" cap="none" spc="1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re</a:t>
            </a:r>
            <a:r>
              <a:rPr kumimoji="0" sz="3200" b="0" i="0" u="none" strike="noStrike" kern="0" cap="none" spc="4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worse</a:t>
            </a:r>
            <a:r>
              <a:rPr kumimoji="0" sz="3200" b="0" i="0" u="none" strike="noStrike" kern="0" cap="none" spc="1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than</a:t>
            </a:r>
            <a:r>
              <a:rPr kumimoji="0" sz="3200" b="0" i="0" u="none" strike="noStrike" kern="0" cap="none" spc="40" normalizeH="0" baseline="0" noProof="0" dirty="0">
                <a:ln>
                  <a:noFill/>
                </a:ln>
                <a:solidFill>
                  <a:srgbClr val="FFFFFF"/>
                </a:solidFill>
                <a:effectLst/>
                <a:uLnTx/>
                <a:uFillTx/>
                <a:latin typeface="Calibri"/>
                <a:cs typeface="Calibri"/>
              </a:rPr>
              <a:t> </a:t>
            </a:r>
            <a:r>
              <a:rPr kumimoji="0" sz="3200" b="0" i="0" u="none" strike="noStrike" kern="0" cap="none" spc="50" normalizeH="0" baseline="0" noProof="0" dirty="0">
                <a:ln>
                  <a:noFill/>
                </a:ln>
                <a:solidFill>
                  <a:srgbClr val="FFFFFF"/>
                </a:solidFill>
                <a:effectLst/>
                <a:uLnTx/>
                <a:uFillTx/>
                <a:latin typeface="Calibri"/>
                <a:cs typeface="Calibri"/>
              </a:rPr>
              <a:t>some</a:t>
            </a:r>
            <a:r>
              <a:rPr kumimoji="0" sz="3200" b="0" i="0" u="none" strike="noStrike" kern="0" cap="none" spc="1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3</a:t>
            </a:r>
            <a:r>
              <a:rPr kumimoji="0" sz="3150" b="0" i="0" u="none" strike="noStrike" kern="0" cap="none" spc="0" normalizeH="0" baseline="25132" noProof="0" dirty="0">
                <a:ln>
                  <a:noFill/>
                </a:ln>
                <a:solidFill>
                  <a:srgbClr val="FFFFFF"/>
                </a:solidFill>
                <a:effectLst/>
                <a:uLnTx/>
                <a:uFillTx/>
                <a:latin typeface="Calibri"/>
                <a:cs typeface="Calibri"/>
              </a:rPr>
              <a:t>rd</a:t>
            </a:r>
            <a:r>
              <a:rPr kumimoji="0" sz="3150" b="0" i="0" u="none" strike="noStrike" kern="0" cap="none" spc="405" normalizeH="0" baseline="25132"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world</a:t>
            </a:r>
            <a:r>
              <a:rPr kumimoji="0" sz="3200" b="0" i="0" u="none" strike="noStrike" kern="0" cap="none" spc="45" normalizeH="0" baseline="0" noProof="0" dirty="0">
                <a:ln>
                  <a:noFill/>
                </a:ln>
                <a:solidFill>
                  <a:srgbClr val="FFFFFF"/>
                </a:solidFill>
                <a:effectLst/>
                <a:uLnTx/>
                <a:uFillTx/>
                <a:latin typeface="Calibri"/>
                <a:cs typeface="Calibri"/>
              </a:rPr>
              <a:t> </a:t>
            </a:r>
            <a:r>
              <a:rPr kumimoji="0" sz="3200" b="0" i="0" u="none" strike="noStrike" kern="0" cap="none" spc="35" normalizeH="0" baseline="0" noProof="0" dirty="0">
                <a:ln>
                  <a:noFill/>
                </a:ln>
                <a:solidFill>
                  <a:srgbClr val="FFFFFF"/>
                </a:solidFill>
                <a:effectLst/>
                <a:uLnTx/>
                <a:uFillTx/>
                <a:latin typeface="Calibri"/>
                <a:cs typeface="Calibri"/>
              </a:rPr>
              <a:t>countries</a:t>
            </a:r>
            <a:endParaRPr kumimoji="0" sz="320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1170"/>
              </a:spcBef>
              <a:spcAft>
                <a:spcPts val="0"/>
              </a:spcAft>
              <a:buClr>
                <a:srgbClr val="FFFFFF"/>
              </a:buClr>
              <a:buSzTx/>
              <a:buFont typeface="Arial"/>
              <a:buChar char="•"/>
              <a:tabLst/>
              <a:defRPr/>
            </a:pPr>
            <a:endParaRPr kumimoji="0" sz="3200" b="0" i="0" u="none" strike="noStrike" kern="0" cap="none" spc="0" normalizeH="0" baseline="0" noProof="0">
              <a:ln>
                <a:noFill/>
              </a:ln>
              <a:solidFill>
                <a:sysClr val="windowText" lastClr="000000"/>
              </a:solidFill>
              <a:effectLst/>
              <a:uLnTx/>
              <a:uFillTx/>
              <a:latin typeface="Calibri"/>
              <a:cs typeface="Calibri"/>
            </a:endParaRPr>
          </a:p>
          <a:p>
            <a:pPr marL="278765" marR="0" lvl="0" indent="-227965" defTabSz="914400" eaLnBrk="1" fontAlgn="auto" latinLnBrk="0" hangingPunct="1">
              <a:lnSpc>
                <a:spcPct val="100000"/>
              </a:lnSpc>
              <a:spcBef>
                <a:spcPts val="0"/>
              </a:spcBef>
              <a:spcAft>
                <a:spcPts val="0"/>
              </a:spcAft>
              <a:buClrTx/>
              <a:buSzTx/>
              <a:buFont typeface="Arial"/>
              <a:buChar char="•"/>
              <a:tabLst>
                <a:tab pos="278765" algn="l"/>
              </a:tabLst>
              <a:defRPr/>
            </a:pPr>
            <a:r>
              <a:rPr kumimoji="0" sz="3200" b="0" i="0" u="none" strike="noStrike" kern="0" cap="none" spc="50" normalizeH="0" baseline="0" noProof="0" dirty="0">
                <a:ln>
                  <a:noFill/>
                </a:ln>
                <a:solidFill>
                  <a:srgbClr val="FFFFFF"/>
                </a:solidFill>
                <a:effectLst/>
                <a:uLnTx/>
                <a:uFillTx/>
                <a:latin typeface="Calibri"/>
                <a:cs typeface="Calibri"/>
              </a:rPr>
              <a:t>Birth</a:t>
            </a:r>
            <a:r>
              <a:rPr kumimoji="0" sz="3200" b="0" i="0" u="none" strike="noStrike" kern="0" cap="none" spc="3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Centers</a:t>
            </a:r>
            <a:r>
              <a:rPr kumimoji="0" sz="3200" b="0" i="0" u="none" strike="noStrike" kern="0" cap="none" spc="35" normalizeH="0" baseline="0" noProof="0" dirty="0">
                <a:ln>
                  <a:noFill/>
                </a:ln>
                <a:solidFill>
                  <a:srgbClr val="FFFFFF"/>
                </a:solidFill>
                <a:effectLst/>
                <a:uLnTx/>
                <a:uFillTx/>
                <a:latin typeface="Calibri"/>
                <a:cs typeface="Calibri"/>
              </a:rPr>
              <a:t> </a:t>
            </a:r>
            <a:r>
              <a:rPr kumimoji="0" sz="3200" b="0" i="0" u="none" strike="noStrike" kern="0" cap="none" spc="75" normalizeH="0" baseline="0" noProof="0" dirty="0">
                <a:ln>
                  <a:noFill/>
                </a:ln>
                <a:solidFill>
                  <a:srgbClr val="FFFFFF"/>
                </a:solidFill>
                <a:effectLst/>
                <a:uLnTx/>
                <a:uFillTx/>
                <a:latin typeface="Calibri"/>
                <a:cs typeface="Calibri"/>
              </a:rPr>
              <a:t>can</a:t>
            </a:r>
            <a:r>
              <a:rPr kumimoji="0" sz="3200" b="0" i="0" u="none" strike="noStrike" kern="0" cap="none" spc="1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help</a:t>
            </a:r>
            <a:r>
              <a:rPr kumimoji="0" sz="3200" b="0" i="0" u="none" strike="noStrike" kern="0" cap="none" spc="1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provide</a:t>
            </a:r>
            <a:r>
              <a:rPr kumimoji="0" sz="3200" b="0" i="0" u="none" strike="noStrike" kern="0" cap="none" spc="10" normalizeH="0" baseline="0" noProof="0" dirty="0">
                <a:ln>
                  <a:noFill/>
                </a:ln>
                <a:solidFill>
                  <a:srgbClr val="FFFFFF"/>
                </a:solidFill>
                <a:effectLst/>
                <a:uLnTx/>
                <a:uFillTx/>
                <a:latin typeface="Calibri"/>
                <a:cs typeface="Calibri"/>
              </a:rPr>
              <a:t> </a:t>
            </a:r>
            <a:r>
              <a:rPr kumimoji="0" sz="3200" b="0" i="0" u="none" strike="noStrike" kern="0" cap="none" spc="75" normalizeH="0" baseline="0" noProof="0" dirty="0">
                <a:ln>
                  <a:noFill/>
                </a:ln>
                <a:solidFill>
                  <a:srgbClr val="FFFFFF"/>
                </a:solidFill>
                <a:effectLst/>
                <a:uLnTx/>
                <a:uFillTx/>
                <a:latin typeface="Calibri"/>
                <a:cs typeface="Calibri"/>
              </a:rPr>
              <a:t>a</a:t>
            </a:r>
            <a:r>
              <a:rPr kumimoji="0" sz="3200" b="0" i="0" u="none" strike="noStrike" kern="0" cap="none" spc="35" normalizeH="0" baseline="0" noProof="0" dirty="0">
                <a:ln>
                  <a:noFill/>
                </a:ln>
                <a:solidFill>
                  <a:srgbClr val="FFFFFF"/>
                </a:solidFill>
                <a:effectLst/>
                <a:uLnTx/>
                <a:uFillTx/>
                <a:latin typeface="Calibri"/>
                <a:cs typeface="Calibri"/>
              </a:rPr>
              <a:t> </a:t>
            </a:r>
            <a:r>
              <a:rPr kumimoji="0" sz="3200" b="0" i="0" u="none" strike="noStrike" kern="0" cap="none" spc="-10" normalizeH="0" baseline="0" noProof="0" dirty="0">
                <a:ln>
                  <a:noFill/>
                </a:ln>
                <a:solidFill>
                  <a:srgbClr val="FFFFFF"/>
                </a:solidFill>
                <a:effectLst/>
                <a:uLnTx/>
                <a:uFillTx/>
                <a:latin typeface="Calibri"/>
                <a:cs typeface="Calibri"/>
              </a:rPr>
              <a:t>solution;</a:t>
            </a:r>
            <a:endParaRPr kumimoji="0" sz="3200" b="0" i="0" u="none" strike="noStrike" kern="0" cap="none" spc="0" normalizeH="0" baseline="0" noProof="0">
              <a:ln>
                <a:noFill/>
              </a:ln>
              <a:solidFill>
                <a:sysClr val="windowText" lastClr="000000"/>
              </a:solidFill>
              <a:effectLst/>
              <a:uLnTx/>
              <a:uFillTx/>
              <a:latin typeface="Calibri"/>
              <a:cs typeface="Calibri"/>
            </a:endParaRPr>
          </a:p>
          <a:p>
            <a:pPr marL="508000" marR="0" lvl="0" indent="0" defTabSz="914400" eaLnBrk="1" fontAlgn="auto" latinLnBrk="0" hangingPunct="1">
              <a:lnSpc>
                <a:spcPct val="100000"/>
              </a:lnSpc>
              <a:spcBef>
                <a:spcPts val="120"/>
              </a:spcBef>
              <a:spcAft>
                <a:spcPts val="0"/>
              </a:spcAft>
              <a:buClrTx/>
              <a:buSzTx/>
              <a:buFontTx/>
              <a:buNone/>
              <a:tabLst/>
              <a:defRPr/>
            </a:pPr>
            <a:r>
              <a:rPr kumimoji="0" sz="3200" b="0" i="0" u="none" strike="noStrike" kern="0" cap="none" spc="0" normalizeH="0" baseline="0" noProof="0" dirty="0">
                <a:ln>
                  <a:noFill/>
                </a:ln>
                <a:solidFill>
                  <a:srgbClr val="FFFFFF"/>
                </a:solidFill>
                <a:effectLst/>
                <a:uLnTx/>
                <a:uFillTx/>
                <a:latin typeface="Calibri"/>
                <a:cs typeface="Calibri"/>
              </a:rPr>
              <a:t>However,</a:t>
            </a:r>
            <a:r>
              <a:rPr kumimoji="0" sz="3200" b="0" i="0" u="none" strike="noStrike" kern="0" cap="none" spc="7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re</a:t>
            </a:r>
            <a:r>
              <a:rPr kumimoji="0" sz="3200" b="0" i="0" u="none" strike="noStrike" kern="0" cap="none" spc="5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not</a:t>
            </a:r>
            <a:r>
              <a:rPr kumimoji="0" sz="3200" b="0" i="0" u="none" strike="noStrike" kern="0" cap="none" spc="75" normalizeH="0" baseline="0" noProof="0" dirty="0">
                <a:ln>
                  <a:noFill/>
                </a:ln>
                <a:solidFill>
                  <a:srgbClr val="FFFFFF"/>
                </a:solidFill>
                <a:effectLst/>
                <a:uLnTx/>
                <a:uFillTx/>
                <a:latin typeface="Calibri"/>
                <a:cs typeface="Calibri"/>
              </a:rPr>
              <a:t> </a:t>
            </a:r>
            <a:r>
              <a:rPr kumimoji="0" sz="3200" b="0" i="0" u="none" strike="noStrike" kern="0" cap="none" spc="50" normalizeH="0" baseline="0" noProof="0" dirty="0">
                <a:ln>
                  <a:noFill/>
                </a:ln>
                <a:solidFill>
                  <a:srgbClr val="FFFFFF"/>
                </a:solidFill>
                <a:effectLst/>
                <a:uLnTx/>
                <a:uFillTx/>
                <a:latin typeface="Calibri"/>
                <a:cs typeface="Calibri"/>
              </a:rPr>
              <a:t>sustainable</a:t>
            </a:r>
            <a:r>
              <a:rPr kumimoji="0" sz="3200" b="0" i="0" u="none" strike="noStrike" kern="0" cap="none" spc="3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with</a:t>
            </a:r>
            <a:r>
              <a:rPr kumimoji="0" sz="3200" b="0" i="0" u="none" strike="noStrike" kern="0" cap="none" spc="7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current</a:t>
            </a:r>
            <a:r>
              <a:rPr kumimoji="0" sz="3200" b="0" i="0" u="none" strike="noStrike" kern="0" cap="none" spc="7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reimbursements</a:t>
            </a:r>
            <a:r>
              <a:rPr kumimoji="0" sz="3200" b="0" i="0" u="none" strike="noStrike" kern="0" cap="none" spc="55" normalizeH="0" baseline="0" noProof="0" dirty="0">
                <a:ln>
                  <a:noFill/>
                </a:ln>
                <a:solidFill>
                  <a:srgbClr val="FFFFFF"/>
                </a:solidFill>
                <a:effectLst/>
                <a:uLnTx/>
                <a:uFillTx/>
                <a:latin typeface="Calibri"/>
                <a:cs typeface="Calibri"/>
              </a:rPr>
              <a:t> </a:t>
            </a:r>
            <a:r>
              <a:rPr kumimoji="0" sz="3200" b="0" i="0" u="none" strike="noStrike" kern="0" cap="none" spc="-10" normalizeH="0" baseline="0" noProof="0" dirty="0">
                <a:ln>
                  <a:noFill/>
                </a:ln>
                <a:solidFill>
                  <a:srgbClr val="FFFFFF"/>
                </a:solidFill>
                <a:effectLst/>
                <a:uLnTx/>
                <a:uFillTx/>
                <a:latin typeface="Calibri"/>
                <a:cs typeface="Calibri"/>
              </a:rPr>
              <a:t>rates</a:t>
            </a:r>
            <a:endParaRPr kumimoji="0" sz="32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9051035" y="249936"/>
            <a:ext cx="2830068" cy="2406395"/>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16939" y="402716"/>
            <a:ext cx="2751455" cy="696595"/>
          </a:xfrm>
          <a:prstGeom prst="rect">
            <a:avLst/>
          </a:prstGeom>
        </p:spPr>
        <p:txBody>
          <a:bodyPr vert="horz" wrap="square" lIns="0" tIns="13335" rIns="0" bIns="0" rtlCol="0">
            <a:spAutoFit/>
          </a:bodyPr>
          <a:lstStyle/>
          <a:p>
            <a:pPr marL="12700">
              <a:lnSpc>
                <a:spcPct val="100000"/>
              </a:lnSpc>
              <a:spcBef>
                <a:spcPts val="105"/>
              </a:spcBef>
            </a:pPr>
            <a:r>
              <a:rPr spc="-10" dirty="0"/>
              <a:t>OUTCOMES</a:t>
            </a:r>
          </a:p>
        </p:txBody>
      </p:sp>
      <p:graphicFrame>
        <p:nvGraphicFramePr>
          <p:cNvPr id="3" name="object 3"/>
          <p:cNvGraphicFramePr>
            <a:graphicFrameLocks noGrp="1"/>
          </p:cNvGraphicFramePr>
          <p:nvPr/>
        </p:nvGraphicFramePr>
        <p:xfrm>
          <a:off x="3899790" y="632842"/>
          <a:ext cx="7927340" cy="3798570"/>
        </p:xfrm>
        <a:graphic>
          <a:graphicData uri="http://schemas.openxmlformats.org/drawingml/2006/table">
            <a:tbl>
              <a:tblPr firstRow="1" bandRow="1">
                <a:tableStyleId>{2D5ABB26-0587-4C30-8999-92F81FD0307C}</a:tableStyleId>
              </a:tblPr>
              <a:tblGrid>
                <a:gridCol w="2613025">
                  <a:extLst>
                    <a:ext uri="{9D8B030D-6E8A-4147-A177-3AD203B41FA5}">
                      <a16:colId xmlns:a16="http://schemas.microsoft.com/office/drawing/2014/main" val="20000"/>
                    </a:ext>
                  </a:extLst>
                </a:gridCol>
                <a:gridCol w="2613025">
                  <a:extLst>
                    <a:ext uri="{9D8B030D-6E8A-4147-A177-3AD203B41FA5}">
                      <a16:colId xmlns:a16="http://schemas.microsoft.com/office/drawing/2014/main" val="20001"/>
                    </a:ext>
                  </a:extLst>
                </a:gridCol>
                <a:gridCol w="2613025">
                  <a:extLst>
                    <a:ext uri="{9D8B030D-6E8A-4147-A177-3AD203B41FA5}">
                      <a16:colId xmlns:a16="http://schemas.microsoft.com/office/drawing/2014/main" val="20002"/>
                    </a:ext>
                  </a:extLst>
                </a:gridCol>
              </a:tblGrid>
              <a:tr h="500380">
                <a:tc>
                  <a:txBody>
                    <a:bodyPr/>
                    <a:lstStyle/>
                    <a:p>
                      <a:pPr marL="3810" algn="ctr">
                        <a:lnSpc>
                          <a:spcPct val="100000"/>
                        </a:lnSpc>
                        <a:spcBef>
                          <a:spcPts val="290"/>
                        </a:spcBef>
                      </a:pPr>
                      <a:r>
                        <a:rPr sz="1800" b="1" spc="-20" dirty="0">
                          <a:solidFill>
                            <a:srgbClr val="FFFFFF"/>
                          </a:solidFill>
                          <a:latin typeface="Calibri"/>
                          <a:cs typeface="Calibri"/>
                        </a:rPr>
                        <a:t>2020</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B4D0E9"/>
                    </a:solidFill>
                  </a:tcPr>
                </a:tc>
                <a:tc>
                  <a:txBody>
                    <a:bodyPr/>
                    <a:lstStyle/>
                    <a:p>
                      <a:pPr marL="503555">
                        <a:lnSpc>
                          <a:spcPct val="100000"/>
                        </a:lnSpc>
                        <a:spcBef>
                          <a:spcPts val="290"/>
                        </a:spcBef>
                      </a:pPr>
                      <a:r>
                        <a:rPr sz="1800" b="1" dirty="0">
                          <a:solidFill>
                            <a:srgbClr val="FFFFFF"/>
                          </a:solidFill>
                          <a:latin typeface="Calibri"/>
                          <a:cs typeface="Calibri"/>
                        </a:rPr>
                        <a:t>US</a:t>
                      </a:r>
                      <a:r>
                        <a:rPr sz="1800" b="1" spc="105" dirty="0">
                          <a:solidFill>
                            <a:srgbClr val="FFFFFF"/>
                          </a:solidFill>
                          <a:latin typeface="Calibri"/>
                          <a:cs typeface="Calibri"/>
                        </a:rPr>
                        <a:t> </a:t>
                      </a:r>
                      <a:r>
                        <a:rPr sz="1800" b="1" dirty="0">
                          <a:solidFill>
                            <a:srgbClr val="FFFFFF"/>
                          </a:solidFill>
                          <a:latin typeface="Calibri"/>
                          <a:cs typeface="Calibri"/>
                        </a:rPr>
                        <a:t>Birth</a:t>
                      </a:r>
                      <a:r>
                        <a:rPr sz="1800" b="1" spc="120" dirty="0">
                          <a:solidFill>
                            <a:srgbClr val="FFFFFF"/>
                          </a:solidFill>
                          <a:latin typeface="Calibri"/>
                          <a:cs typeface="Calibri"/>
                        </a:rPr>
                        <a:t> </a:t>
                      </a:r>
                      <a:r>
                        <a:rPr sz="1800" b="1" spc="-10" dirty="0">
                          <a:solidFill>
                            <a:srgbClr val="FFFFFF"/>
                          </a:solidFill>
                          <a:latin typeface="Calibri"/>
                          <a:cs typeface="Calibri"/>
                        </a:rPr>
                        <a:t>Centers</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B4D0E9"/>
                    </a:solidFill>
                  </a:tcPr>
                </a:tc>
                <a:tc>
                  <a:txBody>
                    <a:bodyPr/>
                    <a:lstStyle/>
                    <a:p>
                      <a:pPr marL="673100">
                        <a:lnSpc>
                          <a:spcPct val="100000"/>
                        </a:lnSpc>
                        <a:spcBef>
                          <a:spcPts val="290"/>
                        </a:spcBef>
                      </a:pPr>
                      <a:r>
                        <a:rPr sz="1800" b="1" dirty="0">
                          <a:solidFill>
                            <a:srgbClr val="FFFFFF"/>
                          </a:solidFill>
                          <a:latin typeface="Calibri"/>
                          <a:cs typeface="Calibri"/>
                        </a:rPr>
                        <a:t>US</a:t>
                      </a:r>
                      <a:r>
                        <a:rPr sz="1800" b="1" spc="114" dirty="0">
                          <a:solidFill>
                            <a:srgbClr val="FFFFFF"/>
                          </a:solidFill>
                          <a:latin typeface="Calibri"/>
                          <a:cs typeface="Calibri"/>
                        </a:rPr>
                        <a:t> </a:t>
                      </a:r>
                      <a:r>
                        <a:rPr sz="1800" b="1" spc="45" dirty="0">
                          <a:solidFill>
                            <a:srgbClr val="FFFFFF"/>
                          </a:solidFill>
                          <a:latin typeface="Calibri"/>
                          <a:cs typeface="Calibri"/>
                        </a:rPr>
                        <a:t>Hospitals</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B4D0E9"/>
                    </a:solidFill>
                  </a:tcPr>
                </a:tc>
                <a:extLst>
                  <a:ext uri="{0D108BD9-81ED-4DB2-BD59-A6C34878D82A}">
                    <a16:rowId xmlns:a16="http://schemas.microsoft.com/office/drawing/2014/main" val="10000"/>
                  </a:ext>
                </a:extLst>
              </a:tr>
              <a:tr h="871855">
                <a:tc>
                  <a:txBody>
                    <a:bodyPr/>
                    <a:lstStyle/>
                    <a:p>
                      <a:pPr marL="95885">
                        <a:lnSpc>
                          <a:spcPct val="100000"/>
                        </a:lnSpc>
                        <a:spcBef>
                          <a:spcPts val="290"/>
                        </a:spcBef>
                      </a:pPr>
                      <a:r>
                        <a:rPr sz="1800" dirty="0">
                          <a:latin typeface="Calibri"/>
                          <a:cs typeface="Calibri"/>
                        </a:rPr>
                        <a:t>Maternal</a:t>
                      </a:r>
                      <a:r>
                        <a:rPr sz="1800" spc="300" dirty="0">
                          <a:latin typeface="Calibri"/>
                          <a:cs typeface="Calibri"/>
                        </a:rPr>
                        <a:t> </a:t>
                      </a:r>
                      <a:r>
                        <a:rPr sz="1800" spc="-10" dirty="0">
                          <a:latin typeface="Calibri"/>
                          <a:cs typeface="Calibri"/>
                        </a:rPr>
                        <a:t>Mortality</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4EDF6"/>
                    </a:solidFill>
                  </a:tcPr>
                </a:tc>
                <a:tc>
                  <a:txBody>
                    <a:bodyPr/>
                    <a:lstStyle/>
                    <a:p>
                      <a:pPr marL="95885">
                        <a:lnSpc>
                          <a:spcPct val="100000"/>
                        </a:lnSpc>
                        <a:spcBef>
                          <a:spcPts val="290"/>
                        </a:spcBef>
                      </a:pPr>
                      <a:r>
                        <a:rPr sz="1800" b="1" spc="-10" dirty="0">
                          <a:latin typeface="Calibri"/>
                          <a:cs typeface="Calibri"/>
                        </a:rPr>
                        <a:t>0.7</a:t>
                      </a:r>
                      <a:r>
                        <a:rPr sz="1800" spc="-10" dirty="0">
                          <a:latin typeface="Calibri"/>
                          <a:cs typeface="Calibri"/>
                        </a:rPr>
                        <a:t>/100,000</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4EDF6"/>
                    </a:solidFill>
                  </a:tcPr>
                </a:tc>
                <a:tc>
                  <a:txBody>
                    <a:bodyPr/>
                    <a:lstStyle/>
                    <a:p>
                      <a:pPr marL="95885">
                        <a:lnSpc>
                          <a:spcPct val="100000"/>
                        </a:lnSpc>
                        <a:spcBef>
                          <a:spcPts val="290"/>
                        </a:spcBef>
                      </a:pPr>
                      <a:r>
                        <a:rPr sz="1800" b="1" spc="-10" dirty="0">
                          <a:latin typeface="Calibri"/>
                          <a:cs typeface="Calibri"/>
                        </a:rPr>
                        <a:t>21</a:t>
                      </a:r>
                      <a:r>
                        <a:rPr sz="1800" spc="-10" dirty="0">
                          <a:latin typeface="Calibri"/>
                          <a:cs typeface="Calibri"/>
                        </a:rPr>
                        <a:t>/100,000</a:t>
                      </a:r>
                      <a:endParaRPr sz="1800">
                        <a:latin typeface="Calibri"/>
                        <a:cs typeface="Calibri"/>
                      </a:endParaRPr>
                    </a:p>
                    <a:p>
                      <a:pPr marL="339725">
                        <a:lnSpc>
                          <a:spcPts val="730"/>
                        </a:lnSpc>
                        <a:spcBef>
                          <a:spcPts val="1814"/>
                        </a:spcBef>
                      </a:pPr>
                      <a:r>
                        <a:rPr sz="900" spc="-25" dirty="0">
                          <a:latin typeface="Calibri"/>
                          <a:cs typeface="Calibri"/>
                        </a:rPr>
                        <a:t>th</a:t>
                      </a:r>
                      <a:endParaRPr sz="900">
                        <a:latin typeface="Calibri"/>
                        <a:cs typeface="Calibri"/>
                      </a:endParaRPr>
                    </a:p>
                    <a:p>
                      <a:pPr marL="95885">
                        <a:lnSpc>
                          <a:spcPts val="1330"/>
                        </a:lnSpc>
                        <a:tabLst>
                          <a:tab pos="490855" algn="l"/>
                        </a:tabLst>
                      </a:pPr>
                      <a:r>
                        <a:rPr sz="1400" spc="-25" dirty="0">
                          <a:latin typeface="Calibri"/>
                          <a:cs typeface="Calibri"/>
                        </a:rPr>
                        <a:t>(64</a:t>
                      </a:r>
                      <a:r>
                        <a:rPr sz="1400" dirty="0">
                          <a:latin typeface="Calibri"/>
                          <a:cs typeface="Calibri"/>
                        </a:rPr>
                        <a:t>	in</a:t>
                      </a:r>
                      <a:r>
                        <a:rPr sz="1400" spc="70" dirty="0">
                          <a:latin typeface="Calibri"/>
                          <a:cs typeface="Calibri"/>
                        </a:rPr>
                        <a:t> </a:t>
                      </a:r>
                      <a:r>
                        <a:rPr sz="1400" dirty="0">
                          <a:latin typeface="Calibri"/>
                          <a:cs typeface="Calibri"/>
                        </a:rPr>
                        <a:t>the</a:t>
                      </a:r>
                      <a:r>
                        <a:rPr sz="1400" spc="75" dirty="0">
                          <a:latin typeface="Calibri"/>
                          <a:cs typeface="Calibri"/>
                        </a:rPr>
                        <a:t> </a:t>
                      </a:r>
                      <a:r>
                        <a:rPr sz="1400" spc="-10" dirty="0">
                          <a:latin typeface="Calibri"/>
                          <a:cs typeface="Calibri"/>
                        </a:rPr>
                        <a:t>world)*</a:t>
                      </a:r>
                      <a:endParaRPr sz="1400">
                        <a:latin typeface="Calibri"/>
                        <a:cs typeface="Calibri"/>
                      </a:endParaRPr>
                    </a:p>
                  </a:txBody>
                  <a:tcPr marL="0" marR="0" marT="3683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4EDF6"/>
                    </a:solidFill>
                  </a:tcPr>
                </a:tc>
                <a:extLst>
                  <a:ext uri="{0D108BD9-81ED-4DB2-BD59-A6C34878D82A}">
                    <a16:rowId xmlns:a16="http://schemas.microsoft.com/office/drawing/2014/main" val="10001"/>
                  </a:ext>
                </a:extLst>
              </a:tr>
              <a:tr h="554355">
                <a:tc>
                  <a:txBody>
                    <a:bodyPr/>
                    <a:lstStyle/>
                    <a:p>
                      <a:pPr marL="95885">
                        <a:lnSpc>
                          <a:spcPct val="100000"/>
                        </a:lnSpc>
                        <a:spcBef>
                          <a:spcPts val="290"/>
                        </a:spcBef>
                      </a:pPr>
                      <a:r>
                        <a:rPr sz="1800" spc="50" dirty="0">
                          <a:latin typeface="Calibri"/>
                          <a:cs typeface="Calibri"/>
                        </a:rPr>
                        <a:t>Cesarean</a:t>
                      </a:r>
                      <a:r>
                        <a:rPr sz="1800" spc="80" dirty="0">
                          <a:latin typeface="Calibri"/>
                          <a:cs typeface="Calibri"/>
                        </a:rPr>
                        <a:t> </a:t>
                      </a:r>
                      <a:r>
                        <a:rPr sz="1800" spc="-20" dirty="0">
                          <a:latin typeface="Calibri"/>
                          <a:cs typeface="Calibri"/>
                        </a:rPr>
                        <a:t>rate</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6FA"/>
                    </a:solidFill>
                  </a:tcPr>
                </a:tc>
                <a:tc>
                  <a:txBody>
                    <a:bodyPr/>
                    <a:lstStyle/>
                    <a:p>
                      <a:pPr marL="95885">
                        <a:lnSpc>
                          <a:spcPct val="100000"/>
                        </a:lnSpc>
                        <a:spcBef>
                          <a:spcPts val="290"/>
                        </a:spcBef>
                      </a:pPr>
                      <a:r>
                        <a:rPr sz="1800" spc="-25" dirty="0">
                          <a:latin typeface="Calibri"/>
                          <a:cs typeface="Calibri"/>
                        </a:rPr>
                        <a:t>&lt;</a:t>
                      </a:r>
                      <a:r>
                        <a:rPr sz="1800" b="1" spc="-25" dirty="0">
                          <a:latin typeface="Calibri"/>
                          <a:cs typeface="Calibri"/>
                        </a:rPr>
                        <a:t>6</a:t>
                      </a:r>
                      <a:r>
                        <a:rPr sz="1800" spc="-25" dirty="0">
                          <a:latin typeface="Calibri"/>
                          <a:cs typeface="Calibri"/>
                        </a:rPr>
                        <a:t>%</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6FA"/>
                    </a:solidFill>
                  </a:tcPr>
                </a:tc>
                <a:tc>
                  <a:txBody>
                    <a:bodyPr/>
                    <a:lstStyle/>
                    <a:p>
                      <a:pPr marL="95885">
                        <a:lnSpc>
                          <a:spcPct val="100000"/>
                        </a:lnSpc>
                        <a:spcBef>
                          <a:spcPts val="290"/>
                        </a:spcBef>
                      </a:pPr>
                      <a:r>
                        <a:rPr sz="1800" b="1" spc="-25" dirty="0">
                          <a:latin typeface="Calibri"/>
                          <a:cs typeface="Calibri"/>
                        </a:rPr>
                        <a:t>33</a:t>
                      </a:r>
                      <a:r>
                        <a:rPr sz="1800" spc="-25" dirty="0">
                          <a:latin typeface="Calibri"/>
                          <a:cs typeface="Calibri"/>
                        </a:rPr>
                        <a:t>%</a:t>
                      </a:r>
                      <a:endParaRPr sz="1800">
                        <a:latin typeface="Calibri"/>
                        <a:cs typeface="Calibri"/>
                      </a:endParaRPr>
                    </a:p>
                  </a:txBody>
                  <a:tcPr marL="0" marR="0" marT="368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6FA"/>
                    </a:solidFill>
                  </a:tcPr>
                </a:tc>
                <a:extLst>
                  <a:ext uri="{0D108BD9-81ED-4DB2-BD59-A6C34878D82A}">
                    <a16:rowId xmlns:a16="http://schemas.microsoft.com/office/drawing/2014/main" val="10002"/>
                  </a:ext>
                </a:extLst>
              </a:tr>
              <a:tr h="500380">
                <a:tc>
                  <a:txBody>
                    <a:bodyPr/>
                    <a:lstStyle/>
                    <a:p>
                      <a:pPr marL="95885">
                        <a:lnSpc>
                          <a:spcPct val="100000"/>
                        </a:lnSpc>
                        <a:spcBef>
                          <a:spcPts val="295"/>
                        </a:spcBef>
                      </a:pPr>
                      <a:r>
                        <a:rPr sz="1800" dirty="0">
                          <a:latin typeface="Calibri"/>
                          <a:cs typeface="Calibri"/>
                        </a:rPr>
                        <a:t>Epidural</a:t>
                      </a:r>
                      <a:r>
                        <a:rPr sz="1800" spc="360" dirty="0">
                          <a:latin typeface="Calibri"/>
                          <a:cs typeface="Calibri"/>
                        </a:rPr>
                        <a:t> </a:t>
                      </a:r>
                      <a:r>
                        <a:rPr sz="1800" spc="-20" dirty="0">
                          <a:latin typeface="Calibri"/>
                          <a:cs typeface="Calibri"/>
                        </a:rPr>
                        <a:t>rate</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4EDF6"/>
                    </a:solidFill>
                  </a:tcPr>
                </a:tc>
                <a:tc>
                  <a:txBody>
                    <a:bodyPr/>
                    <a:lstStyle/>
                    <a:p>
                      <a:pPr marL="95885">
                        <a:lnSpc>
                          <a:spcPct val="100000"/>
                        </a:lnSpc>
                        <a:spcBef>
                          <a:spcPts val="295"/>
                        </a:spcBef>
                      </a:pPr>
                      <a:r>
                        <a:rPr sz="1800" b="1" spc="-25" dirty="0">
                          <a:latin typeface="Calibri"/>
                          <a:cs typeface="Calibri"/>
                        </a:rPr>
                        <a:t>10</a:t>
                      </a:r>
                      <a:r>
                        <a:rPr sz="1800" spc="-25" dirty="0">
                          <a:latin typeface="Calibri"/>
                          <a:cs typeface="Calibri"/>
                        </a:rPr>
                        <a:t>%</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4EDF6"/>
                    </a:solidFill>
                  </a:tcPr>
                </a:tc>
                <a:tc>
                  <a:txBody>
                    <a:bodyPr/>
                    <a:lstStyle/>
                    <a:p>
                      <a:pPr marL="95885">
                        <a:lnSpc>
                          <a:spcPct val="100000"/>
                        </a:lnSpc>
                        <a:spcBef>
                          <a:spcPts val="295"/>
                        </a:spcBef>
                      </a:pPr>
                      <a:r>
                        <a:rPr sz="1800" b="1" spc="120" dirty="0">
                          <a:latin typeface="Calibri"/>
                          <a:cs typeface="Calibri"/>
                        </a:rPr>
                        <a:t>65-</a:t>
                      </a:r>
                      <a:r>
                        <a:rPr sz="1800" b="1" spc="-25" dirty="0">
                          <a:latin typeface="Calibri"/>
                          <a:cs typeface="Calibri"/>
                        </a:rPr>
                        <a:t>80</a:t>
                      </a:r>
                      <a:r>
                        <a:rPr sz="1800" spc="-25" dirty="0">
                          <a:latin typeface="Calibri"/>
                          <a:cs typeface="Calibri"/>
                        </a:rPr>
                        <a:t>%</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4EDF6"/>
                    </a:solidFill>
                  </a:tcPr>
                </a:tc>
                <a:extLst>
                  <a:ext uri="{0D108BD9-81ED-4DB2-BD59-A6C34878D82A}">
                    <a16:rowId xmlns:a16="http://schemas.microsoft.com/office/drawing/2014/main" val="10003"/>
                  </a:ext>
                </a:extLst>
              </a:tr>
              <a:tr h="500380">
                <a:tc>
                  <a:txBody>
                    <a:bodyPr/>
                    <a:lstStyle/>
                    <a:p>
                      <a:pPr marL="95885">
                        <a:lnSpc>
                          <a:spcPct val="100000"/>
                        </a:lnSpc>
                        <a:spcBef>
                          <a:spcPts val="295"/>
                        </a:spcBef>
                      </a:pPr>
                      <a:r>
                        <a:rPr sz="1800" spc="55" dirty="0">
                          <a:latin typeface="Calibri"/>
                          <a:cs typeface="Calibri"/>
                        </a:rPr>
                        <a:t>NICU</a:t>
                      </a:r>
                      <a:r>
                        <a:rPr sz="1800" spc="75" dirty="0">
                          <a:latin typeface="Calibri"/>
                          <a:cs typeface="Calibri"/>
                        </a:rPr>
                        <a:t> </a:t>
                      </a:r>
                      <a:r>
                        <a:rPr sz="1800" spc="55" dirty="0">
                          <a:latin typeface="Calibri"/>
                          <a:cs typeface="Calibri"/>
                        </a:rPr>
                        <a:t>admit</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6FA"/>
                    </a:solidFill>
                  </a:tcPr>
                </a:tc>
                <a:tc>
                  <a:txBody>
                    <a:bodyPr/>
                    <a:lstStyle/>
                    <a:p>
                      <a:pPr marL="95885">
                        <a:lnSpc>
                          <a:spcPct val="100000"/>
                        </a:lnSpc>
                        <a:spcBef>
                          <a:spcPts val="295"/>
                        </a:spcBef>
                      </a:pPr>
                      <a:r>
                        <a:rPr sz="1800" b="1" spc="-20" dirty="0">
                          <a:latin typeface="Calibri"/>
                          <a:cs typeface="Calibri"/>
                        </a:rPr>
                        <a:t>2.5</a:t>
                      </a:r>
                      <a:r>
                        <a:rPr sz="1800" spc="-20" dirty="0">
                          <a:latin typeface="Calibri"/>
                          <a:cs typeface="Calibri"/>
                        </a:rPr>
                        <a:t>%</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6FA"/>
                    </a:solidFill>
                  </a:tcPr>
                </a:tc>
                <a:tc>
                  <a:txBody>
                    <a:bodyPr/>
                    <a:lstStyle/>
                    <a:p>
                      <a:pPr marL="95885">
                        <a:lnSpc>
                          <a:spcPct val="100000"/>
                        </a:lnSpc>
                        <a:spcBef>
                          <a:spcPts val="295"/>
                        </a:spcBef>
                      </a:pPr>
                      <a:r>
                        <a:rPr sz="1800" b="1" spc="-20" dirty="0">
                          <a:latin typeface="Calibri"/>
                          <a:cs typeface="Calibri"/>
                        </a:rPr>
                        <a:t>5.6</a:t>
                      </a:r>
                      <a:r>
                        <a:rPr sz="1800" spc="-20" dirty="0">
                          <a:latin typeface="Calibri"/>
                          <a:cs typeface="Calibri"/>
                        </a:rPr>
                        <a:t>%</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6FA"/>
                    </a:solidFill>
                  </a:tcPr>
                </a:tc>
                <a:extLst>
                  <a:ext uri="{0D108BD9-81ED-4DB2-BD59-A6C34878D82A}">
                    <a16:rowId xmlns:a16="http://schemas.microsoft.com/office/drawing/2014/main" val="10004"/>
                  </a:ext>
                </a:extLst>
              </a:tr>
              <a:tr h="871219">
                <a:tc>
                  <a:txBody>
                    <a:bodyPr/>
                    <a:lstStyle/>
                    <a:p>
                      <a:pPr marL="95885">
                        <a:lnSpc>
                          <a:spcPct val="100000"/>
                        </a:lnSpc>
                        <a:spcBef>
                          <a:spcPts val="295"/>
                        </a:spcBef>
                      </a:pPr>
                      <a:r>
                        <a:rPr sz="1800" spc="55" dirty="0">
                          <a:latin typeface="Calibri"/>
                          <a:cs typeface="Calibri"/>
                        </a:rPr>
                        <a:t>Midwife-</a:t>
                      </a:r>
                      <a:r>
                        <a:rPr sz="1800" dirty="0">
                          <a:latin typeface="Calibri"/>
                          <a:cs typeface="Calibri"/>
                        </a:rPr>
                        <a:t>attended</a:t>
                      </a:r>
                      <a:r>
                        <a:rPr sz="1800" spc="345" dirty="0">
                          <a:latin typeface="Calibri"/>
                          <a:cs typeface="Calibri"/>
                        </a:rPr>
                        <a:t> </a:t>
                      </a:r>
                      <a:r>
                        <a:rPr sz="1800" spc="-10" dirty="0">
                          <a:latin typeface="Calibri"/>
                          <a:cs typeface="Calibri"/>
                        </a:rPr>
                        <a:t>births</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4EDF6"/>
                    </a:solidFill>
                  </a:tcPr>
                </a:tc>
                <a:tc>
                  <a:txBody>
                    <a:bodyPr/>
                    <a:lstStyle/>
                    <a:p>
                      <a:pPr marL="95885">
                        <a:lnSpc>
                          <a:spcPct val="100000"/>
                        </a:lnSpc>
                        <a:spcBef>
                          <a:spcPts val="295"/>
                        </a:spcBef>
                      </a:pPr>
                      <a:r>
                        <a:rPr sz="1800" b="1" spc="-20" dirty="0">
                          <a:latin typeface="Calibri"/>
                          <a:cs typeface="Calibri"/>
                        </a:rPr>
                        <a:t>&gt;99</a:t>
                      </a:r>
                      <a:r>
                        <a:rPr sz="1800" spc="-20" dirty="0">
                          <a:latin typeface="Calibri"/>
                          <a:cs typeface="Calibri"/>
                        </a:rPr>
                        <a:t>%</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4EDF6"/>
                    </a:solidFill>
                  </a:tcPr>
                </a:tc>
                <a:tc>
                  <a:txBody>
                    <a:bodyPr/>
                    <a:lstStyle/>
                    <a:p>
                      <a:pPr marL="95885">
                        <a:lnSpc>
                          <a:spcPct val="100000"/>
                        </a:lnSpc>
                        <a:spcBef>
                          <a:spcPts val="295"/>
                        </a:spcBef>
                      </a:pPr>
                      <a:r>
                        <a:rPr sz="1800" spc="-25" dirty="0">
                          <a:latin typeface="Calibri"/>
                          <a:cs typeface="Calibri"/>
                        </a:rPr>
                        <a:t>&lt;</a:t>
                      </a:r>
                      <a:r>
                        <a:rPr sz="1800" b="1" spc="-25" dirty="0">
                          <a:latin typeface="Calibri"/>
                          <a:cs typeface="Calibri"/>
                        </a:rPr>
                        <a:t>8</a:t>
                      </a:r>
                      <a:r>
                        <a:rPr sz="1800" spc="-25" dirty="0">
                          <a:latin typeface="Calibri"/>
                          <a:cs typeface="Calibri"/>
                        </a:rPr>
                        <a:t>%</a:t>
                      </a:r>
                      <a:endParaRPr sz="180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4EDF6"/>
                    </a:solidFill>
                  </a:tcPr>
                </a:tc>
                <a:extLst>
                  <a:ext uri="{0D108BD9-81ED-4DB2-BD59-A6C34878D82A}">
                    <a16:rowId xmlns:a16="http://schemas.microsoft.com/office/drawing/2014/main" val="10005"/>
                  </a:ext>
                </a:extLst>
              </a:tr>
            </a:tbl>
          </a:graphicData>
        </a:graphic>
      </p:graphicFrame>
      <p:sp>
        <p:nvSpPr>
          <p:cNvPr id="4" name="object 4"/>
          <p:cNvSpPr txBox="1"/>
          <p:nvPr/>
        </p:nvSpPr>
        <p:spPr>
          <a:xfrm>
            <a:off x="477113" y="4851019"/>
            <a:ext cx="10017760" cy="1665605"/>
          </a:xfrm>
          <a:prstGeom prst="rect">
            <a:avLst/>
          </a:prstGeom>
        </p:spPr>
        <p:txBody>
          <a:bodyPr vert="horz" wrap="square" lIns="0" tIns="12700" rIns="0" bIns="0" rtlCol="0">
            <a:spAutoFit/>
          </a:bodyPr>
          <a:lstStyle/>
          <a:p>
            <a:pPr marL="12700" marR="179705"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Arial"/>
                <a:cs typeface="Arial"/>
              </a:rPr>
              <a:t>Birth</a:t>
            </a:r>
            <a:r>
              <a:rPr kumimoji="0" sz="1800" b="0" i="0" u="none" strike="noStrike" kern="0" cap="none" spc="-4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Centers</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re</a:t>
            </a:r>
            <a:r>
              <a:rPr kumimoji="0" sz="1800" b="0" i="0" u="none" strike="noStrike" kern="0" cap="none" spc="-4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lso</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seeing</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outstanding</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outcomes</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with:</a:t>
            </a:r>
            <a:r>
              <a:rPr kumimoji="0" sz="1800" b="0" i="0" u="none" strike="noStrike" kern="0" cap="none" spc="-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decrease</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infections</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rates,</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10" normalizeH="0" baseline="0" noProof="0" dirty="0">
                <a:ln>
                  <a:noFill/>
                </a:ln>
                <a:solidFill>
                  <a:srgbClr val="FFFFFF"/>
                </a:solidFill>
                <a:effectLst/>
                <a:uLnTx/>
                <a:uFillTx/>
                <a:latin typeface="Arial"/>
                <a:cs typeface="Arial"/>
              </a:rPr>
              <a:t>episiotomy </a:t>
            </a:r>
            <a:r>
              <a:rPr kumimoji="0" sz="1800" b="0" i="0" u="none" strike="noStrike" kern="0" cap="none" spc="0" normalizeH="0" baseline="0" noProof="0" dirty="0">
                <a:ln>
                  <a:noFill/>
                </a:ln>
                <a:solidFill>
                  <a:srgbClr val="FFFFFF"/>
                </a:solidFill>
                <a:effectLst/>
                <a:uLnTx/>
                <a:uFillTx/>
                <a:latin typeface="Arial"/>
                <a:cs typeface="Arial"/>
              </a:rPr>
              <a:t>rates,</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breastfeeding</a:t>
            </a:r>
            <a:r>
              <a:rPr kumimoji="0" sz="1800" b="0" i="0" u="none" strike="noStrike" kern="0" cap="none" spc="-1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mp;</a:t>
            </a:r>
            <a:r>
              <a:rPr kumimoji="0" sz="1800" b="0" i="0" u="none" strike="noStrike" kern="0" cap="none" spc="-4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lactation,</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low</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birth</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weight,</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preterm</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birth,</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ER</a:t>
            </a:r>
            <a:r>
              <a:rPr kumimoji="0" sz="1800" b="0" i="0" u="none" strike="noStrike" kern="0" cap="none" spc="-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ED</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visits,</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patient</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10" normalizeH="0" baseline="0" noProof="0" dirty="0">
                <a:ln>
                  <a:noFill/>
                </a:ln>
                <a:solidFill>
                  <a:srgbClr val="FFFFFF"/>
                </a:solidFill>
                <a:effectLst/>
                <a:uLnTx/>
                <a:uFillTx/>
                <a:latin typeface="Arial"/>
                <a:cs typeface="Arial"/>
              </a:rPr>
              <a:t>satisfaction </a:t>
            </a:r>
            <a:r>
              <a:rPr kumimoji="0" sz="1800" b="0" i="0" u="none" strike="noStrike" kern="0" cap="none" spc="0" normalizeH="0" baseline="0" noProof="0" dirty="0">
                <a:ln>
                  <a:noFill/>
                </a:ln>
                <a:solidFill>
                  <a:srgbClr val="FFFFFF"/>
                </a:solidFill>
                <a:effectLst/>
                <a:uLnTx/>
                <a:uFillTx/>
                <a:latin typeface="Arial"/>
                <a:cs typeface="Arial"/>
              </a:rPr>
              <a:t>rates,</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nd</a:t>
            </a:r>
            <a:r>
              <a:rPr kumimoji="0" sz="1800" b="0" i="0" u="none" strike="noStrike" kern="0" cap="none" spc="-4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TOLAC</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VBAC</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10" normalizeH="0" baseline="0" noProof="0" dirty="0">
                <a:ln>
                  <a:noFill/>
                </a:ln>
                <a:solidFill>
                  <a:srgbClr val="FFFFFF"/>
                </a:solidFill>
                <a:effectLst/>
                <a:uLnTx/>
                <a:uFillTx/>
                <a:latin typeface="Arial"/>
                <a:cs typeface="Arial"/>
              </a:rPr>
              <a:t>successes.</a:t>
            </a:r>
            <a:endParaRPr kumimoji="0" sz="18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9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ts val="2135"/>
              </a:lnSpc>
              <a:spcBef>
                <a:spcPts val="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Arial"/>
                <a:cs typeface="Arial"/>
              </a:rPr>
              <a:t>*3/18/2024:</a:t>
            </a:r>
            <a:r>
              <a:rPr kumimoji="0" sz="1800" b="0" i="0" u="none" strike="noStrike" kern="0" cap="none" spc="-3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the</a:t>
            </a:r>
            <a:r>
              <a:rPr kumimoji="0" sz="1800" b="0" i="0" u="none" strike="noStrike" kern="0" cap="none" spc="-4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most</a:t>
            </a:r>
            <a:r>
              <a:rPr kumimoji="0" sz="1800" b="0" i="0" u="none" strike="noStrike" kern="0" cap="none" spc="-3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recent</a:t>
            </a:r>
            <a:r>
              <a:rPr kumimoji="0" sz="1800" b="0" i="0" u="none" strike="noStrike" kern="0" cap="none" spc="-3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data</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was</a:t>
            </a:r>
            <a:r>
              <a:rPr kumimoji="0" sz="1800" b="0" i="0" u="none" strike="noStrike" kern="0" cap="none" spc="-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released</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in</a:t>
            </a:r>
            <a:r>
              <a:rPr kumimoji="0" sz="1800" b="0" i="0" u="none" strike="noStrike" kern="0" cap="none" spc="-4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the</a:t>
            </a:r>
            <a:r>
              <a:rPr kumimoji="0" sz="1800" b="0" i="0" u="none" strike="noStrike" kern="0" cap="none" spc="-1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merican</a:t>
            </a:r>
            <a:r>
              <a:rPr kumimoji="0" sz="1800" b="0" i="0" u="none" strike="noStrike" kern="0" cap="none" spc="-3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Journal</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of</a:t>
            </a:r>
            <a:r>
              <a:rPr kumimoji="0" sz="1800" b="0" i="0" u="none" strike="noStrike" kern="0" cap="none" spc="-3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Preventive</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Medicine</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25" normalizeH="0" baseline="0" noProof="0" dirty="0">
                <a:ln>
                  <a:noFill/>
                </a:ln>
                <a:solidFill>
                  <a:srgbClr val="FFFFFF"/>
                </a:solidFill>
                <a:effectLst/>
                <a:uLnTx/>
                <a:uFillTx/>
                <a:latin typeface="Arial"/>
                <a:cs typeface="Arial"/>
              </a:rPr>
              <a:t>and</a:t>
            </a:r>
            <a:endParaRPr kumimoji="0" sz="18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ts val="2135"/>
              </a:lnSpc>
              <a:spcBef>
                <a:spcPts val="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Arial"/>
                <a:cs typeface="Arial"/>
              </a:rPr>
              <a:t>the</a:t>
            </a:r>
            <a:r>
              <a:rPr kumimoji="0" sz="1800" b="0" i="0" u="none" strike="noStrike" kern="0" cap="none" spc="-3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MMR</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is</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now</a:t>
            </a:r>
            <a:r>
              <a:rPr kumimoji="0" sz="1800" b="0" i="0" u="none" strike="noStrike" kern="0" cap="none" spc="-1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31.8</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2020</a:t>
            </a:r>
            <a:r>
              <a:rPr kumimoji="0" sz="1800" b="0" i="0" u="none" strike="noStrike" kern="0" cap="none" spc="-1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rate:</a:t>
            </a:r>
            <a:r>
              <a:rPr kumimoji="0" sz="1800" b="0" i="0" u="none" strike="noStrike" kern="0" cap="none" spc="-10" normalizeH="0" baseline="0" noProof="0" dirty="0">
                <a:ln>
                  <a:noFill/>
                </a:ln>
                <a:solidFill>
                  <a:srgbClr val="FFFFFF"/>
                </a:solidFill>
                <a:effectLst/>
                <a:uLnTx/>
                <a:uFillTx/>
                <a:latin typeface="Arial"/>
                <a:cs typeface="Arial"/>
              </a:rPr>
              <a:t> </a:t>
            </a:r>
            <a:r>
              <a:rPr kumimoji="0" sz="1800" b="0" i="0" u="none" strike="noStrike" kern="0" cap="none" spc="-25" normalizeH="0" baseline="0" noProof="0" dirty="0">
                <a:ln>
                  <a:noFill/>
                </a:ln>
                <a:solidFill>
                  <a:srgbClr val="FFFFFF"/>
                </a:solidFill>
                <a:effectLst/>
                <a:uLnTx/>
                <a:uFillTx/>
                <a:latin typeface="Arial"/>
                <a:cs typeface="Arial"/>
              </a:rPr>
              <a:t>21)</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pic>
        <p:nvPicPr>
          <p:cNvPr id="5" name="object 5"/>
          <p:cNvPicPr/>
          <p:nvPr/>
        </p:nvPicPr>
        <p:blipFill>
          <a:blip r:embed="rId2" cstate="print"/>
          <a:stretch>
            <a:fillRect/>
          </a:stretch>
        </p:blipFill>
        <p:spPr>
          <a:xfrm>
            <a:off x="1234439" y="1138427"/>
            <a:ext cx="2068068" cy="3300984"/>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98120" rIns="0" bIns="0" rtlCol="0">
            <a:spAutoFit/>
          </a:bodyPr>
          <a:lstStyle/>
          <a:p>
            <a:pPr marL="380365">
              <a:lnSpc>
                <a:spcPct val="100000"/>
              </a:lnSpc>
              <a:spcBef>
                <a:spcPts val="105"/>
              </a:spcBef>
            </a:pPr>
            <a:r>
              <a:rPr dirty="0"/>
              <a:t>Our</a:t>
            </a:r>
            <a:r>
              <a:rPr spc="-95" dirty="0"/>
              <a:t> </a:t>
            </a:r>
            <a:r>
              <a:rPr spc="55" dirty="0"/>
              <a:t>Global</a:t>
            </a:r>
            <a:r>
              <a:rPr spc="-95" dirty="0"/>
              <a:t> </a:t>
            </a:r>
            <a:r>
              <a:rPr spc="105" dirty="0"/>
              <a:t>Standing</a:t>
            </a:r>
          </a:p>
        </p:txBody>
      </p:sp>
      <p:grpSp>
        <p:nvGrpSpPr>
          <p:cNvPr id="3" name="object 3"/>
          <p:cNvGrpSpPr/>
          <p:nvPr/>
        </p:nvGrpSpPr>
        <p:grpSpPr>
          <a:xfrm>
            <a:off x="200913" y="1112519"/>
            <a:ext cx="11698605" cy="4287520"/>
            <a:chOff x="200913" y="1112519"/>
            <a:chExt cx="11698605" cy="4287520"/>
          </a:xfrm>
        </p:grpSpPr>
        <p:pic>
          <p:nvPicPr>
            <p:cNvPr id="4" name="object 4"/>
            <p:cNvPicPr/>
            <p:nvPr/>
          </p:nvPicPr>
          <p:blipFill>
            <a:blip r:embed="rId2" cstate="print"/>
            <a:stretch>
              <a:fillRect/>
            </a:stretch>
          </p:blipFill>
          <p:spPr>
            <a:xfrm>
              <a:off x="318515" y="1112519"/>
              <a:ext cx="11580876" cy="4287011"/>
            </a:xfrm>
            <a:prstGeom prst="rect">
              <a:avLst/>
            </a:prstGeom>
          </p:spPr>
        </p:pic>
        <p:sp>
          <p:nvSpPr>
            <p:cNvPr id="5" name="object 5"/>
            <p:cNvSpPr/>
            <p:nvPr/>
          </p:nvSpPr>
          <p:spPr>
            <a:xfrm>
              <a:off x="207263" y="4509516"/>
              <a:ext cx="698500" cy="485140"/>
            </a:xfrm>
            <a:custGeom>
              <a:avLst/>
              <a:gdLst/>
              <a:ahLst/>
              <a:cxnLst/>
              <a:rect l="l" t="t" r="r" b="b"/>
              <a:pathLst>
                <a:path w="698500" h="485139">
                  <a:moveTo>
                    <a:pt x="455676" y="0"/>
                  </a:moveTo>
                  <a:lnTo>
                    <a:pt x="455676" y="121157"/>
                  </a:lnTo>
                  <a:lnTo>
                    <a:pt x="0" y="121157"/>
                  </a:lnTo>
                  <a:lnTo>
                    <a:pt x="0" y="363473"/>
                  </a:lnTo>
                  <a:lnTo>
                    <a:pt x="455676" y="363473"/>
                  </a:lnTo>
                  <a:lnTo>
                    <a:pt x="455676" y="484631"/>
                  </a:lnTo>
                  <a:lnTo>
                    <a:pt x="697992" y="242315"/>
                  </a:lnTo>
                  <a:lnTo>
                    <a:pt x="455676" y="0"/>
                  </a:lnTo>
                  <a:close/>
                </a:path>
              </a:pathLst>
            </a:custGeom>
            <a:solidFill>
              <a:srgbClr val="FF80B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207263" y="4509516"/>
              <a:ext cx="698500" cy="485140"/>
            </a:xfrm>
            <a:custGeom>
              <a:avLst/>
              <a:gdLst/>
              <a:ahLst/>
              <a:cxnLst/>
              <a:rect l="l" t="t" r="r" b="b"/>
              <a:pathLst>
                <a:path w="698500" h="485139">
                  <a:moveTo>
                    <a:pt x="0" y="121157"/>
                  </a:moveTo>
                  <a:lnTo>
                    <a:pt x="455676" y="121157"/>
                  </a:lnTo>
                  <a:lnTo>
                    <a:pt x="455676" y="0"/>
                  </a:lnTo>
                  <a:lnTo>
                    <a:pt x="697992" y="242315"/>
                  </a:lnTo>
                  <a:lnTo>
                    <a:pt x="455676" y="484631"/>
                  </a:lnTo>
                  <a:lnTo>
                    <a:pt x="455676" y="363473"/>
                  </a:lnTo>
                  <a:lnTo>
                    <a:pt x="0" y="363473"/>
                  </a:lnTo>
                  <a:lnTo>
                    <a:pt x="0" y="121157"/>
                  </a:lnTo>
                  <a:close/>
                </a:path>
              </a:pathLst>
            </a:custGeom>
            <a:ln w="12700">
              <a:solidFill>
                <a:srgbClr val="6C314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7" name="object 7"/>
          <p:cNvSpPr txBox="1"/>
          <p:nvPr/>
        </p:nvSpPr>
        <p:spPr>
          <a:xfrm>
            <a:off x="359765" y="5662066"/>
            <a:ext cx="11358880" cy="1123315"/>
          </a:xfrm>
          <a:prstGeom prst="rect">
            <a:avLst/>
          </a:prstGeom>
        </p:spPr>
        <p:txBody>
          <a:bodyPr vert="horz" wrap="square" lIns="0" tIns="12700" rIns="0" bIns="0" rtlCol="0">
            <a:spAutoFit/>
          </a:bodyPr>
          <a:lstStyle/>
          <a:p>
            <a:pPr marL="222250" marR="0" lvl="0" indent="-171450" defTabSz="914400" eaLnBrk="1" fontAlgn="auto" latinLnBrk="0" hangingPunct="1">
              <a:lnSpc>
                <a:spcPct val="100000"/>
              </a:lnSpc>
              <a:spcBef>
                <a:spcPts val="100"/>
              </a:spcBef>
              <a:spcAft>
                <a:spcPts val="0"/>
              </a:spcAft>
              <a:buClrTx/>
              <a:buSzTx/>
              <a:buFont typeface="Arial"/>
              <a:buChar char="•"/>
              <a:tabLst>
                <a:tab pos="222250" algn="l"/>
              </a:tabLst>
              <a:defRPr/>
            </a:pPr>
            <a:r>
              <a:rPr kumimoji="0" sz="1800" b="0" i="0" u="none" strike="noStrike" kern="0" cap="none" spc="0" normalizeH="0" baseline="0" noProof="0" dirty="0">
                <a:ln>
                  <a:noFill/>
                </a:ln>
                <a:solidFill>
                  <a:srgbClr val="FFFFFF"/>
                </a:solidFill>
                <a:effectLst/>
                <a:uLnTx/>
                <a:uFillTx/>
                <a:latin typeface="Calibri"/>
                <a:cs typeface="Calibri"/>
              </a:rPr>
              <a:t>The</a:t>
            </a:r>
            <a:r>
              <a:rPr kumimoji="0" sz="1800" b="0" i="0" u="none" strike="noStrike" kern="0" cap="none" spc="35" normalizeH="0" baseline="0" noProof="0" dirty="0">
                <a:ln>
                  <a:noFill/>
                </a:ln>
                <a:solidFill>
                  <a:srgbClr val="FFFFFF"/>
                </a:solidFill>
                <a:effectLst/>
                <a:uLnTx/>
                <a:uFillTx/>
                <a:latin typeface="Calibri"/>
                <a:cs typeface="Calibri"/>
              </a:rPr>
              <a:t> </a:t>
            </a:r>
            <a:r>
              <a:rPr kumimoji="0" sz="1800" b="0" i="0" u="none" strike="noStrike" kern="0" cap="none" spc="65" normalizeH="0" baseline="0" noProof="0" dirty="0">
                <a:ln>
                  <a:noFill/>
                </a:ln>
                <a:solidFill>
                  <a:srgbClr val="FFFFFF"/>
                </a:solidFill>
                <a:effectLst/>
                <a:uLnTx/>
                <a:uFillTx/>
                <a:latin typeface="Calibri"/>
                <a:cs typeface="Calibri"/>
              </a:rPr>
              <a:t>US</a:t>
            </a:r>
            <a:r>
              <a:rPr kumimoji="0" sz="1800" b="0" i="0" u="none" strike="noStrike" kern="0" cap="none" spc="3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is</a:t>
            </a:r>
            <a:r>
              <a:rPr kumimoji="0" sz="1800" b="0" i="0" u="none" strike="noStrike" kern="0" cap="none" spc="3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64</a:t>
            </a:r>
            <a:r>
              <a:rPr kumimoji="0" sz="1800" b="0" i="0" u="none" strike="noStrike" kern="0" cap="none" spc="0" normalizeH="0" baseline="25462" noProof="0" dirty="0">
                <a:ln>
                  <a:noFill/>
                </a:ln>
                <a:solidFill>
                  <a:srgbClr val="FFFFFF"/>
                </a:solidFill>
                <a:effectLst/>
                <a:uLnTx/>
                <a:uFillTx/>
                <a:latin typeface="Calibri"/>
                <a:cs typeface="Calibri"/>
              </a:rPr>
              <a:t>th</a:t>
            </a:r>
            <a:r>
              <a:rPr kumimoji="0" sz="1800" b="0" i="0" u="none" strike="noStrike" kern="0" cap="none" spc="247" normalizeH="0" baseline="25462"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a:t>
            </a:r>
            <a:r>
              <a:rPr kumimoji="0" sz="1800" b="0" i="0" u="none" strike="noStrike" kern="0" cap="none" spc="3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this</a:t>
            </a:r>
            <a:r>
              <a:rPr kumimoji="0" sz="1800" b="0" i="0" u="none" strike="noStrike" kern="0" cap="none" spc="2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was</a:t>
            </a:r>
            <a:r>
              <a:rPr kumimoji="0" sz="1800" b="0" i="0" u="none" strike="noStrike" kern="0" cap="none" spc="2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our</a:t>
            </a:r>
            <a:r>
              <a:rPr kumimoji="0" sz="1800" b="0" i="0" u="none" strike="noStrike" kern="0" cap="none" spc="4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global</a:t>
            </a:r>
            <a:r>
              <a:rPr kumimoji="0" sz="1800" b="0" i="0" u="none" strike="noStrike" kern="0" cap="none" spc="6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standing</a:t>
            </a:r>
            <a:r>
              <a:rPr kumimoji="0" sz="1800" b="0" i="0" u="none" strike="noStrike" kern="0" cap="none" spc="3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in</a:t>
            </a:r>
            <a:r>
              <a:rPr kumimoji="0" sz="1800" b="0" i="0" u="none" strike="noStrike" kern="0" cap="none" spc="35" normalizeH="0" baseline="0" noProof="0" dirty="0">
                <a:ln>
                  <a:noFill/>
                </a:ln>
                <a:solidFill>
                  <a:srgbClr val="FFFFFF"/>
                </a:solidFill>
                <a:effectLst/>
                <a:uLnTx/>
                <a:uFillTx/>
                <a:latin typeface="Calibri"/>
                <a:cs typeface="Calibri"/>
              </a:rPr>
              <a:t> </a:t>
            </a:r>
            <a:r>
              <a:rPr kumimoji="0" sz="1800" b="0" i="0" u="none" strike="noStrike" kern="0" cap="none" spc="-20" normalizeH="0" baseline="0" noProof="0" dirty="0">
                <a:ln>
                  <a:noFill/>
                </a:ln>
                <a:solidFill>
                  <a:srgbClr val="FFFFFF"/>
                </a:solidFill>
                <a:effectLst/>
                <a:uLnTx/>
                <a:uFillTx/>
                <a:latin typeface="Calibri"/>
                <a:cs typeface="Calibri"/>
              </a:rPr>
              <a:t>2020;</a:t>
            </a:r>
            <a:r>
              <a:rPr kumimoji="0" sz="1800" b="0" i="0" u="none" strike="noStrike" kern="0" cap="none" spc="4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based</a:t>
            </a:r>
            <a:r>
              <a:rPr kumimoji="0" sz="1800" b="0" i="0" u="none" strike="noStrike" kern="0" cap="none" spc="3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on</a:t>
            </a:r>
            <a:r>
              <a:rPr kumimoji="0" sz="1800" b="0" i="0" u="none" strike="noStrike" kern="0" cap="none" spc="4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21</a:t>
            </a:r>
            <a:r>
              <a:rPr kumimoji="0" sz="1800" b="0" i="0" u="none" strike="noStrike" kern="0" cap="none" spc="5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maternal</a:t>
            </a:r>
            <a:r>
              <a:rPr kumimoji="0" sz="1800" b="0" i="0" u="none" strike="noStrike" kern="0" cap="none" spc="5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deaths</a:t>
            </a:r>
            <a:r>
              <a:rPr kumimoji="0" sz="1800" b="0" i="0" u="none" strike="noStrike" kern="0" cap="none" spc="2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per</a:t>
            </a:r>
            <a:r>
              <a:rPr kumimoji="0" sz="1800" b="0" i="0" u="none" strike="noStrike" kern="0" cap="none" spc="50" normalizeH="0" baseline="0" noProof="0" dirty="0">
                <a:ln>
                  <a:noFill/>
                </a:ln>
                <a:solidFill>
                  <a:srgbClr val="FFFFFF"/>
                </a:solidFill>
                <a:effectLst/>
                <a:uLnTx/>
                <a:uFillTx/>
                <a:latin typeface="Calibri"/>
                <a:cs typeface="Calibri"/>
              </a:rPr>
              <a:t> </a:t>
            </a:r>
            <a:r>
              <a:rPr kumimoji="0" sz="1800" b="0" i="0" u="none" strike="noStrike" kern="0" cap="none" spc="-10" normalizeH="0" baseline="0" noProof="0" dirty="0">
                <a:ln>
                  <a:noFill/>
                </a:ln>
                <a:solidFill>
                  <a:srgbClr val="FFFFFF"/>
                </a:solidFill>
                <a:effectLst/>
                <a:uLnTx/>
                <a:uFillTx/>
                <a:latin typeface="Calibri"/>
                <a:cs typeface="Calibri"/>
              </a:rPr>
              <a:t>100,000.</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222885" marR="0" lvl="0" indent="-172085" defTabSz="914400" eaLnBrk="1" fontAlgn="auto" latinLnBrk="0" hangingPunct="1">
              <a:lnSpc>
                <a:spcPct val="100000"/>
              </a:lnSpc>
              <a:spcBef>
                <a:spcPts val="2165"/>
              </a:spcBef>
              <a:spcAft>
                <a:spcPts val="0"/>
              </a:spcAft>
              <a:buClrTx/>
              <a:buSzTx/>
              <a:buFont typeface="Arial"/>
              <a:buChar char="•"/>
              <a:tabLst>
                <a:tab pos="222885" algn="l"/>
              </a:tabLst>
              <a:defRPr/>
            </a:pPr>
            <a:r>
              <a:rPr kumimoji="0" sz="1800" b="0" i="0" u="none" strike="noStrike" kern="0" cap="none" spc="0" normalizeH="0" baseline="0" noProof="0" dirty="0">
                <a:ln>
                  <a:noFill/>
                </a:ln>
                <a:solidFill>
                  <a:srgbClr val="FFFFFF"/>
                </a:solidFill>
                <a:effectLst/>
                <a:uLnTx/>
                <a:uFillTx/>
                <a:latin typeface="Calibri"/>
                <a:cs typeface="Calibri"/>
              </a:rPr>
              <a:t>The</a:t>
            </a:r>
            <a:r>
              <a:rPr kumimoji="0" sz="1800" b="0" i="0" u="none" strike="noStrike" kern="0" cap="none" spc="2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country</a:t>
            </a:r>
            <a:r>
              <a:rPr kumimoji="0" sz="1800" b="0" i="0" u="none" strike="noStrike" kern="0" cap="none" spc="2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of</a:t>
            </a:r>
            <a:r>
              <a:rPr kumimoji="0" sz="1800" b="0" i="0" u="none" strike="noStrike" kern="0" cap="none" spc="2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Qatar</a:t>
            </a:r>
            <a:r>
              <a:rPr kumimoji="0" sz="1800" b="0" i="0" u="none" strike="noStrike" kern="0" cap="none" spc="4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34</a:t>
            </a:r>
            <a:r>
              <a:rPr kumimoji="0" sz="1800" b="0" i="0" u="none" strike="noStrike" kern="0" cap="none" spc="0" normalizeH="0" baseline="25462" noProof="0" dirty="0">
                <a:ln>
                  <a:noFill/>
                </a:ln>
                <a:solidFill>
                  <a:srgbClr val="FFFFFF"/>
                </a:solidFill>
                <a:effectLst/>
                <a:uLnTx/>
                <a:uFillTx/>
                <a:latin typeface="Calibri"/>
                <a:cs typeface="Calibri"/>
              </a:rPr>
              <a:t>th</a:t>
            </a:r>
            <a:r>
              <a:rPr kumimoji="0" sz="1800" b="0" i="0" u="none" strike="noStrike" kern="0" cap="none" spc="0" normalizeH="0" baseline="0" noProof="0" dirty="0">
                <a:ln>
                  <a:noFill/>
                </a:ln>
                <a:solidFill>
                  <a:srgbClr val="FFFFFF"/>
                </a:solidFill>
                <a:effectLst/>
                <a:uLnTx/>
                <a:uFillTx/>
                <a:latin typeface="Calibri"/>
                <a:cs typeface="Calibri"/>
              </a:rPr>
              <a:t>),</a:t>
            </a:r>
            <a:r>
              <a:rPr kumimoji="0" sz="1800" b="0" i="0" u="none" strike="noStrike" kern="0" cap="none" spc="4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indicates</a:t>
            </a:r>
            <a:r>
              <a:rPr kumimoji="0" sz="1800" b="0" i="0" u="none" strike="noStrike" kern="0" cap="none" spc="2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where</a:t>
            </a:r>
            <a:r>
              <a:rPr kumimoji="0" sz="1800" b="0" i="0" u="none" strike="noStrike" kern="0" cap="none" spc="-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34</a:t>
            </a:r>
            <a:r>
              <a:rPr kumimoji="0" sz="1800" b="0" i="0" u="none" strike="noStrike" kern="0" cap="none" spc="3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developed</a:t>
            </a:r>
            <a:r>
              <a:rPr kumimoji="0" sz="1800" b="0" i="0" u="none" strike="noStrike" kern="0" cap="none" spc="4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nations</a:t>
            </a:r>
            <a:r>
              <a:rPr kumimoji="0" sz="1800" b="0" i="0" u="none" strike="noStrike" kern="0" cap="none" spc="3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are</a:t>
            </a:r>
            <a:r>
              <a:rPr kumimoji="0" sz="1800" b="0" i="0" u="none" strike="noStrike" kern="0" cap="none" spc="2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in</a:t>
            </a:r>
            <a:r>
              <a:rPr kumimoji="0" sz="1800" b="0" i="0" u="none" strike="noStrike" kern="0" cap="none" spc="2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the</a:t>
            </a:r>
            <a:r>
              <a:rPr kumimoji="0" sz="1800" b="0" i="0" u="none" strike="noStrike" kern="0" cap="none" spc="5" normalizeH="0" baseline="0" noProof="0" dirty="0">
                <a:ln>
                  <a:noFill/>
                </a:ln>
                <a:solidFill>
                  <a:srgbClr val="FFFFFF"/>
                </a:solidFill>
                <a:effectLst/>
                <a:uLnTx/>
                <a:uFillTx/>
                <a:latin typeface="Calibri"/>
                <a:cs typeface="Calibri"/>
              </a:rPr>
              <a:t> </a:t>
            </a:r>
            <a:r>
              <a:rPr kumimoji="0" sz="1800" b="0" i="0" u="none" strike="noStrike" kern="0" cap="none" spc="-20" normalizeH="0" baseline="0" noProof="0" dirty="0">
                <a:ln>
                  <a:noFill/>
                </a:ln>
                <a:solidFill>
                  <a:srgbClr val="FFFFFF"/>
                </a:solidFill>
                <a:effectLst/>
                <a:uLnTx/>
                <a:uFillTx/>
                <a:latin typeface="Calibri"/>
                <a:cs typeface="Calibri"/>
              </a:rPr>
              <a:t>list</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680085" marR="0" lvl="1" indent="-172085" defTabSz="914400" eaLnBrk="1" fontAlgn="auto" latinLnBrk="0" hangingPunct="1">
              <a:lnSpc>
                <a:spcPct val="100000"/>
              </a:lnSpc>
              <a:spcBef>
                <a:spcPts val="0"/>
              </a:spcBef>
              <a:spcAft>
                <a:spcPts val="0"/>
              </a:spcAft>
              <a:buClrTx/>
              <a:buSzTx/>
              <a:buFont typeface="Arial"/>
              <a:buChar char="•"/>
              <a:tabLst>
                <a:tab pos="680085" algn="l"/>
              </a:tabLst>
              <a:defRPr/>
            </a:pPr>
            <a:r>
              <a:rPr kumimoji="0" sz="1800" b="0" i="0" u="none" strike="noStrike" kern="0" cap="none" spc="0" normalizeH="0" baseline="0" noProof="0" dirty="0">
                <a:ln>
                  <a:noFill/>
                </a:ln>
                <a:solidFill>
                  <a:srgbClr val="FFFFFF"/>
                </a:solidFill>
                <a:effectLst/>
                <a:uLnTx/>
                <a:uFillTx/>
                <a:latin typeface="Calibri"/>
                <a:cs typeface="Calibri"/>
              </a:rPr>
              <a:t>There</a:t>
            </a:r>
            <a:r>
              <a:rPr kumimoji="0" sz="1800" b="0" i="0" u="none" strike="noStrike" kern="0" cap="none" spc="7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are</a:t>
            </a:r>
            <a:r>
              <a:rPr kumimoji="0" sz="1800" b="0" i="0" u="none" strike="noStrike" kern="0" cap="none" spc="9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64</a:t>
            </a:r>
            <a:r>
              <a:rPr kumimoji="0" sz="1800" b="0" i="0" u="none" strike="noStrike" kern="0" cap="none" spc="10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developed</a:t>
            </a:r>
            <a:r>
              <a:rPr kumimoji="0" sz="1800" b="0" i="0" u="none" strike="noStrike" kern="0" cap="none" spc="12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nations</a:t>
            </a:r>
            <a:r>
              <a:rPr kumimoji="0" sz="1800" b="0" i="0" u="none" strike="noStrike" kern="0" cap="none" spc="9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according</a:t>
            </a:r>
            <a:r>
              <a:rPr kumimoji="0" sz="1800" b="0" i="0" u="none" strike="noStrike" kern="0" cap="none" spc="13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to</a:t>
            </a:r>
            <a:r>
              <a:rPr kumimoji="0" sz="1800" b="0" i="0" u="none" strike="noStrike" kern="0" cap="none" spc="10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OECD</a:t>
            </a:r>
            <a:r>
              <a:rPr kumimoji="0" sz="1800" b="0" i="0" u="none" strike="noStrike" kern="0" cap="none" spc="9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Organization</a:t>
            </a:r>
            <a:r>
              <a:rPr kumimoji="0" sz="1800" b="0" i="0" u="none" strike="noStrike" kern="0" cap="none" spc="11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for</a:t>
            </a:r>
            <a:r>
              <a:rPr kumimoji="0" sz="1800" b="0" i="0" u="none" strike="noStrike" kern="0" cap="none" spc="90"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Economic</a:t>
            </a:r>
            <a:r>
              <a:rPr kumimoji="0" sz="1800" b="0" i="0" u="none" strike="noStrike" kern="0" cap="none" spc="114"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Co-operation</a:t>
            </a:r>
            <a:r>
              <a:rPr kumimoji="0" sz="1800" b="0" i="0" u="none" strike="noStrike" kern="0" cap="none" spc="105" normalizeH="0" baseline="0" noProof="0" dirty="0">
                <a:ln>
                  <a:noFill/>
                </a:ln>
                <a:solidFill>
                  <a:srgbClr val="FFFFFF"/>
                </a:solidFill>
                <a:effectLst/>
                <a:uLnTx/>
                <a:uFillTx/>
                <a:latin typeface="Calibri"/>
                <a:cs typeface="Calibri"/>
              </a:rPr>
              <a:t> </a:t>
            </a:r>
            <a:r>
              <a:rPr kumimoji="0" sz="1800" b="0" i="0" u="none" strike="noStrike" kern="0" cap="none" spc="0" normalizeH="0" baseline="0" noProof="0" dirty="0">
                <a:ln>
                  <a:noFill/>
                </a:ln>
                <a:solidFill>
                  <a:srgbClr val="FFFFFF"/>
                </a:solidFill>
                <a:effectLst/>
                <a:uLnTx/>
                <a:uFillTx/>
                <a:latin typeface="Calibri"/>
                <a:cs typeface="Calibri"/>
              </a:rPr>
              <a:t>and</a:t>
            </a:r>
            <a:r>
              <a:rPr kumimoji="0" sz="1800" b="0" i="0" u="none" strike="noStrike" kern="0" cap="none" spc="90" normalizeH="0" baseline="0" noProof="0" dirty="0">
                <a:ln>
                  <a:noFill/>
                </a:ln>
                <a:solidFill>
                  <a:srgbClr val="FFFFFF"/>
                </a:solidFill>
                <a:effectLst/>
                <a:uLnTx/>
                <a:uFillTx/>
                <a:latin typeface="Calibri"/>
                <a:cs typeface="Calibri"/>
              </a:rPr>
              <a:t> </a:t>
            </a:r>
            <a:r>
              <a:rPr kumimoji="0" sz="1800" b="0" i="0" u="none" strike="noStrike" kern="0" cap="none" spc="-10" normalizeH="0" baseline="0" noProof="0" dirty="0">
                <a:ln>
                  <a:noFill/>
                </a:ln>
                <a:solidFill>
                  <a:srgbClr val="FFFFFF"/>
                </a:solidFill>
                <a:effectLst/>
                <a:uLnTx/>
                <a:uFillTx/>
                <a:latin typeface="Calibri"/>
                <a:cs typeface="Calibri"/>
              </a:rPr>
              <a:t>Development)</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8" name="object 8"/>
          <p:cNvSpPr txBox="1"/>
          <p:nvPr/>
        </p:nvSpPr>
        <p:spPr>
          <a:xfrm>
            <a:off x="292404" y="4605654"/>
            <a:ext cx="405765" cy="2692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20" normalizeH="0" baseline="0" noProof="0" dirty="0">
                <a:ln>
                  <a:noFill/>
                </a:ln>
                <a:solidFill>
                  <a:sysClr val="windowText" lastClr="000000"/>
                </a:solidFill>
                <a:effectLst/>
                <a:uLnTx/>
                <a:uFillTx/>
                <a:latin typeface="Calibri"/>
                <a:cs typeface="Calibri"/>
              </a:rPr>
              <a:t>64th</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grpSp>
        <p:nvGrpSpPr>
          <p:cNvPr id="9" name="object 9"/>
          <p:cNvGrpSpPr/>
          <p:nvPr/>
        </p:nvGrpSpPr>
        <p:grpSpPr>
          <a:xfrm>
            <a:off x="5031994" y="3180333"/>
            <a:ext cx="701675" cy="497840"/>
            <a:chOff x="5031994" y="3180333"/>
            <a:chExt cx="701675" cy="497840"/>
          </a:xfrm>
        </p:grpSpPr>
        <p:sp>
          <p:nvSpPr>
            <p:cNvPr id="10" name="object 10"/>
            <p:cNvSpPr/>
            <p:nvPr/>
          </p:nvSpPr>
          <p:spPr>
            <a:xfrm>
              <a:off x="5038344" y="3186683"/>
              <a:ext cx="688975" cy="485140"/>
            </a:xfrm>
            <a:custGeom>
              <a:avLst/>
              <a:gdLst/>
              <a:ahLst/>
              <a:cxnLst/>
              <a:rect l="l" t="t" r="r" b="b"/>
              <a:pathLst>
                <a:path w="688975" h="485139">
                  <a:moveTo>
                    <a:pt x="446531" y="0"/>
                  </a:moveTo>
                  <a:lnTo>
                    <a:pt x="446531" y="121157"/>
                  </a:lnTo>
                  <a:lnTo>
                    <a:pt x="0" y="121157"/>
                  </a:lnTo>
                  <a:lnTo>
                    <a:pt x="0" y="363474"/>
                  </a:lnTo>
                  <a:lnTo>
                    <a:pt x="446531" y="363474"/>
                  </a:lnTo>
                  <a:lnTo>
                    <a:pt x="446531" y="484631"/>
                  </a:lnTo>
                  <a:lnTo>
                    <a:pt x="688847" y="242315"/>
                  </a:lnTo>
                  <a:lnTo>
                    <a:pt x="446531" y="0"/>
                  </a:lnTo>
                  <a:close/>
                </a:path>
              </a:pathLst>
            </a:custGeom>
            <a:solidFill>
              <a:srgbClr val="FF80B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p:nvPr/>
          </p:nvSpPr>
          <p:spPr>
            <a:xfrm>
              <a:off x="5038344" y="3186683"/>
              <a:ext cx="688975" cy="485140"/>
            </a:xfrm>
            <a:custGeom>
              <a:avLst/>
              <a:gdLst/>
              <a:ahLst/>
              <a:cxnLst/>
              <a:rect l="l" t="t" r="r" b="b"/>
              <a:pathLst>
                <a:path w="688975" h="485139">
                  <a:moveTo>
                    <a:pt x="0" y="121157"/>
                  </a:moveTo>
                  <a:lnTo>
                    <a:pt x="446531" y="121157"/>
                  </a:lnTo>
                  <a:lnTo>
                    <a:pt x="446531" y="0"/>
                  </a:lnTo>
                  <a:lnTo>
                    <a:pt x="688847" y="242315"/>
                  </a:lnTo>
                  <a:lnTo>
                    <a:pt x="446531" y="484631"/>
                  </a:lnTo>
                  <a:lnTo>
                    <a:pt x="446531" y="363474"/>
                  </a:lnTo>
                  <a:lnTo>
                    <a:pt x="0" y="363474"/>
                  </a:lnTo>
                  <a:lnTo>
                    <a:pt x="0" y="121157"/>
                  </a:lnTo>
                  <a:close/>
                </a:path>
              </a:pathLst>
            </a:custGeom>
            <a:ln w="12700">
              <a:solidFill>
                <a:srgbClr val="6C314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2" name="object 12"/>
          <p:cNvSpPr txBox="1"/>
          <p:nvPr/>
        </p:nvSpPr>
        <p:spPr>
          <a:xfrm>
            <a:off x="5120385" y="3282518"/>
            <a:ext cx="405765" cy="2692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20" normalizeH="0" baseline="0" noProof="0" dirty="0">
                <a:ln>
                  <a:noFill/>
                </a:ln>
                <a:solidFill>
                  <a:sysClr val="windowText" lastClr="000000"/>
                </a:solidFill>
                <a:effectLst/>
                <a:uLnTx/>
                <a:uFillTx/>
                <a:latin typeface="Calibri"/>
                <a:cs typeface="Calibri"/>
              </a:rPr>
              <a:t>34th</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14300">
              <a:lnSpc>
                <a:spcPct val="100000"/>
              </a:lnSpc>
              <a:spcBef>
                <a:spcPts val="100"/>
              </a:spcBef>
            </a:pPr>
            <a:r>
              <a:rPr spc="-195" dirty="0"/>
              <a:t>MOD</a:t>
            </a:r>
            <a:r>
              <a:rPr spc="20" dirty="0"/>
              <a:t> </a:t>
            </a:r>
            <a:r>
              <a:rPr dirty="0"/>
              <a:t>Report</a:t>
            </a:r>
            <a:r>
              <a:rPr spc="25" dirty="0"/>
              <a:t> </a:t>
            </a:r>
            <a:r>
              <a:rPr spc="60" dirty="0"/>
              <a:t>Card</a:t>
            </a:r>
          </a:p>
        </p:txBody>
      </p:sp>
      <p:pic>
        <p:nvPicPr>
          <p:cNvPr id="3" name="object 3"/>
          <p:cNvPicPr/>
          <p:nvPr/>
        </p:nvPicPr>
        <p:blipFill>
          <a:blip r:embed="rId2" cstate="print"/>
          <a:stretch>
            <a:fillRect/>
          </a:stretch>
        </p:blipFill>
        <p:spPr>
          <a:xfrm>
            <a:off x="5064252" y="365759"/>
            <a:ext cx="7037832" cy="6336792"/>
          </a:xfrm>
          <a:prstGeom prst="rect">
            <a:avLst/>
          </a:prstGeom>
        </p:spPr>
      </p:pic>
      <p:pic>
        <p:nvPicPr>
          <p:cNvPr id="4" name="object 4"/>
          <p:cNvPicPr/>
          <p:nvPr/>
        </p:nvPicPr>
        <p:blipFill>
          <a:blip r:embed="rId3" cstate="print"/>
          <a:stretch>
            <a:fillRect/>
          </a:stretch>
        </p:blipFill>
        <p:spPr>
          <a:xfrm>
            <a:off x="353568" y="4194047"/>
            <a:ext cx="4562856" cy="2508504"/>
          </a:xfrm>
          <a:prstGeom prst="rect">
            <a:avLst/>
          </a:prstGeom>
        </p:spPr>
      </p:pic>
      <p:pic>
        <p:nvPicPr>
          <p:cNvPr id="5" name="object 5"/>
          <p:cNvPicPr/>
          <p:nvPr/>
        </p:nvPicPr>
        <p:blipFill>
          <a:blip r:embed="rId4" cstate="print"/>
          <a:stretch>
            <a:fillRect/>
          </a:stretch>
        </p:blipFill>
        <p:spPr>
          <a:xfrm>
            <a:off x="353568" y="1141475"/>
            <a:ext cx="4562856" cy="2872740"/>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14300">
              <a:lnSpc>
                <a:spcPct val="100000"/>
              </a:lnSpc>
              <a:spcBef>
                <a:spcPts val="100"/>
              </a:spcBef>
            </a:pPr>
            <a:r>
              <a:rPr spc="-195" dirty="0"/>
              <a:t>MOD</a:t>
            </a:r>
            <a:r>
              <a:rPr spc="20" dirty="0"/>
              <a:t> </a:t>
            </a:r>
            <a:r>
              <a:rPr dirty="0"/>
              <a:t>Report</a:t>
            </a:r>
            <a:r>
              <a:rPr spc="25" dirty="0"/>
              <a:t> </a:t>
            </a:r>
            <a:r>
              <a:rPr spc="60" dirty="0"/>
              <a:t>Card</a:t>
            </a:r>
          </a:p>
        </p:txBody>
      </p:sp>
      <p:pic>
        <p:nvPicPr>
          <p:cNvPr id="3" name="object 3"/>
          <p:cNvPicPr/>
          <p:nvPr/>
        </p:nvPicPr>
        <p:blipFill>
          <a:blip r:embed="rId2" cstate="print"/>
          <a:stretch>
            <a:fillRect/>
          </a:stretch>
        </p:blipFill>
        <p:spPr>
          <a:xfrm>
            <a:off x="301752" y="1132332"/>
            <a:ext cx="11740896" cy="5452872"/>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14300">
              <a:lnSpc>
                <a:spcPct val="100000"/>
              </a:lnSpc>
              <a:spcBef>
                <a:spcPts val="100"/>
              </a:spcBef>
            </a:pPr>
            <a:r>
              <a:rPr spc="90" dirty="0"/>
              <a:t>Examples</a:t>
            </a:r>
            <a:r>
              <a:rPr spc="-130" dirty="0"/>
              <a:t> </a:t>
            </a:r>
            <a:r>
              <a:rPr dirty="0"/>
              <a:t>of</a:t>
            </a:r>
            <a:r>
              <a:rPr spc="-105" dirty="0"/>
              <a:t> </a:t>
            </a:r>
            <a:r>
              <a:rPr spc="80" dirty="0"/>
              <a:t>Cost</a:t>
            </a:r>
            <a:r>
              <a:rPr spc="-105" dirty="0"/>
              <a:t> </a:t>
            </a:r>
            <a:r>
              <a:rPr spc="-10" dirty="0"/>
              <a:t>Variances</a:t>
            </a:r>
          </a:p>
        </p:txBody>
      </p:sp>
      <p:pic>
        <p:nvPicPr>
          <p:cNvPr id="3" name="object 3"/>
          <p:cNvPicPr/>
          <p:nvPr/>
        </p:nvPicPr>
        <p:blipFill>
          <a:blip r:embed="rId2" cstate="print"/>
          <a:stretch>
            <a:fillRect/>
          </a:stretch>
        </p:blipFill>
        <p:spPr>
          <a:xfrm>
            <a:off x="310895" y="1138427"/>
            <a:ext cx="8772144" cy="5215128"/>
          </a:xfrm>
          <a:prstGeom prst="rect">
            <a:avLst/>
          </a:prstGeom>
        </p:spPr>
      </p:pic>
      <p:pic>
        <p:nvPicPr>
          <p:cNvPr id="4" name="object 4"/>
          <p:cNvPicPr/>
          <p:nvPr/>
        </p:nvPicPr>
        <p:blipFill>
          <a:blip r:embed="rId3" cstate="print"/>
          <a:stretch>
            <a:fillRect/>
          </a:stretch>
        </p:blipFill>
        <p:spPr>
          <a:xfrm>
            <a:off x="9224771" y="1690116"/>
            <a:ext cx="2727960" cy="3896867"/>
          </a:xfrm>
          <a:prstGeom prst="rect">
            <a:avLst/>
          </a:prstGeom>
        </p:spPr>
      </p:pic>
      <p:sp>
        <p:nvSpPr>
          <p:cNvPr id="5" name="object 5"/>
          <p:cNvSpPr txBox="1"/>
          <p:nvPr/>
        </p:nvSpPr>
        <p:spPr>
          <a:xfrm>
            <a:off x="10657458" y="6513982"/>
            <a:ext cx="1456055" cy="18669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050" b="0" i="1" u="none" strike="noStrike" kern="0" cap="none" spc="0" normalizeH="0" baseline="0" noProof="0" dirty="0">
                <a:ln>
                  <a:noFill/>
                </a:ln>
                <a:solidFill>
                  <a:srgbClr val="FFFFFF"/>
                </a:solidFill>
                <a:effectLst/>
                <a:uLnTx/>
                <a:uFillTx/>
                <a:latin typeface="Calibri"/>
                <a:cs typeface="Calibri"/>
              </a:rPr>
              <a:t>(source:</a:t>
            </a:r>
            <a:r>
              <a:rPr kumimoji="0" sz="1050" b="0" i="1" u="none" strike="noStrike" kern="0" cap="none" spc="-10" normalizeH="0" baseline="0" noProof="0" dirty="0">
                <a:ln>
                  <a:noFill/>
                </a:ln>
                <a:solidFill>
                  <a:srgbClr val="FFFFFF"/>
                </a:solidFill>
                <a:effectLst/>
                <a:uLnTx/>
                <a:uFillTx/>
                <a:latin typeface="Calibri"/>
                <a:cs typeface="Calibri"/>
              </a:rPr>
              <a:t> </a:t>
            </a:r>
            <a:r>
              <a:rPr kumimoji="0" sz="1050" b="0" i="1" u="none" strike="noStrike" kern="0" cap="none" spc="0" normalizeH="0" baseline="0" noProof="0" dirty="0">
                <a:ln>
                  <a:noFill/>
                </a:ln>
                <a:solidFill>
                  <a:srgbClr val="FFFFFF"/>
                </a:solidFill>
                <a:effectLst/>
                <a:uLnTx/>
                <a:uFillTx/>
                <a:latin typeface="Calibri"/>
                <a:cs typeface="Calibri"/>
              </a:rPr>
              <a:t>Turquoise</a:t>
            </a:r>
            <a:r>
              <a:rPr kumimoji="0" sz="1050" b="0" i="1" u="none" strike="noStrike" kern="0" cap="none" spc="-15" normalizeH="0" baseline="0" noProof="0" dirty="0">
                <a:ln>
                  <a:noFill/>
                </a:ln>
                <a:solidFill>
                  <a:srgbClr val="FFFFFF"/>
                </a:solidFill>
                <a:effectLst/>
                <a:uLnTx/>
                <a:uFillTx/>
                <a:latin typeface="Calibri"/>
                <a:cs typeface="Calibri"/>
              </a:rPr>
              <a:t> </a:t>
            </a:r>
            <a:r>
              <a:rPr kumimoji="0" sz="1050" b="0" i="1" u="none" strike="noStrike" kern="0" cap="none" spc="-10" normalizeH="0" baseline="0" noProof="0" dirty="0">
                <a:ln>
                  <a:noFill/>
                </a:ln>
                <a:solidFill>
                  <a:srgbClr val="FFFFFF"/>
                </a:solidFill>
                <a:effectLst/>
                <a:uLnTx/>
                <a:uFillTx/>
                <a:latin typeface="Calibri"/>
                <a:cs typeface="Calibri"/>
              </a:rPr>
              <a:t>Health)</a:t>
            </a:r>
            <a:endParaRPr kumimoji="0" sz="105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6111" rIns="0" bIns="0" rtlCol="0">
            <a:spAutoFit/>
          </a:bodyPr>
          <a:lstStyle/>
          <a:p>
            <a:pPr marL="114300">
              <a:lnSpc>
                <a:spcPct val="100000"/>
              </a:lnSpc>
              <a:spcBef>
                <a:spcPts val="100"/>
              </a:spcBef>
            </a:pPr>
            <a:r>
              <a:rPr sz="3600" spc="-70" dirty="0"/>
              <a:t>MS-</a:t>
            </a:r>
            <a:r>
              <a:rPr sz="3600" dirty="0"/>
              <a:t>DRG</a:t>
            </a:r>
            <a:r>
              <a:rPr sz="3600" spc="-15" dirty="0"/>
              <a:t> </a:t>
            </a:r>
            <a:r>
              <a:rPr sz="3600" spc="-10" dirty="0"/>
              <a:t>Medicare</a:t>
            </a:r>
            <a:r>
              <a:rPr sz="3600" spc="-40" dirty="0"/>
              <a:t> </a:t>
            </a:r>
            <a:r>
              <a:rPr sz="3600" dirty="0"/>
              <a:t>Severity</a:t>
            </a:r>
            <a:r>
              <a:rPr sz="3600" spc="-25" dirty="0"/>
              <a:t> </a:t>
            </a:r>
            <a:r>
              <a:rPr sz="3600" spc="60" dirty="0"/>
              <a:t>Diagnosis</a:t>
            </a:r>
            <a:r>
              <a:rPr sz="3600" spc="-20" dirty="0"/>
              <a:t> </a:t>
            </a:r>
            <a:r>
              <a:rPr sz="3600" spc="55" dirty="0"/>
              <a:t>Related</a:t>
            </a:r>
            <a:r>
              <a:rPr sz="3600" spc="-35" dirty="0"/>
              <a:t> </a:t>
            </a:r>
            <a:r>
              <a:rPr sz="3600" spc="-10" dirty="0"/>
              <a:t>Groups</a:t>
            </a:r>
            <a:endParaRPr sz="3600"/>
          </a:p>
        </p:txBody>
      </p:sp>
      <p:grpSp>
        <p:nvGrpSpPr>
          <p:cNvPr id="3" name="object 3"/>
          <p:cNvGrpSpPr/>
          <p:nvPr/>
        </p:nvGrpSpPr>
        <p:grpSpPr>
          <a:xfrm>
            <a:off x="6051646" y="1232280"/>
            <a:ext cx="5804535" cy="5275580"/>
            <a:chOff x="6051646" y="1232280"/>
            <a:chExt cx="5804535" cy="5275580"/>
          </a:xfrm>
        </p:grpSpPr>
        <p:sp>
          <p:nvSpPr>
            <p:cNvPr id="4" name="object 4"/>
            <p:cNvSpPr/>
            <p:nvPr/>
          </p:nvSpPr>
          <p:spPr>
            <a:xfrm>
              <a:off x="9222994" y="1241805"/>
              <a:ext cx="861060" cy="2602230"/>
            </a:xfrm>
            <a:custGeom>
              <a:avLst/>
              <a:gdLst/>
              <a:ahLst/>
              <a:cxnLst/>
              <a:rect l="l" t="t" r="r" b="b"/>
              <a:pathLst>
                <a:path w="861059" h="2602229">
                  <a:moveTo>
                    <a:pt x="0" y="0"/>
                  </a:moveTo>
                  <a:lnTo>
                    <a:pt x="0" y="2602103"/>
                  </a:lnTo>
                  <a:lnTo>
                    <a:pt x="860932" y="146558"/>
                  </a:lnTo>
                  <a:lnTo>
                    <a:pt x="811951" y="129928"/>
                  </a:lnTo>
                  <a:lnTo>
                    <a:pt x="762686" y="114288"/>
                  </a:lnTo>
                  <a:lnTo>
                    <a:pt x="713154" y="99638"/>
                  </a:lnTo>
                  <a:lnTo>
                    <a:pt x="663368" y="85983"/>
                  </a:lnTo>
                  <a:lnTo>
                    <a:pt x="613345" y="73323"/>
                  </a:lnTo>
                  <a:lnTo>
                    <a:pt x="563100" y="61661"/>
                  </a:lnTo>
                  <a:lnTo>
                    <a:pt x="512646" y="51001"/>
                  </a:lnTo>
                  <a:lnTo>
                    <a:pt x="462000" y="41344"/>
                  </a:lnTo>
                  <a:lnTo>
                    <a:pt x="411177" y="32693"/>
                  </a:lnTo>
                  <a:lnTo>
                    <a:pt x="360190" y="25051"/>
                  </a:lnTo>
                  <a:lnTo>
                    <a:pt x="309057" y="18420"/>
                  </a:lnTo>
                  <a:lnTo>
                    <a:pt x="257791" y="12802"/>
                  </a:lnTo>
                  <a:lnTo>
                    <a:pt x="206407" y="8199"/>
                  </a:lnTo>
                  <a:lnTo>
                    <a:pt x="154921" y="4616"/>
                  </a:lnTo>
                  <a:lnTo>
                    <a:pt x="103348" y="2053"/>
                  </a:lnTo>
                  <a:lnTo>
                    <a:pt x="51702" y="513"/>
                  </a:lnTo>
                  <a:lnTo>
                    <a:pt x="0" y="0"/>
                  </a:lnTo>
                  <a:close/>
                </a:path>
              </a:pathLst>
            </a:custGeom>
            <a:solidFill>
              <a:srgbClr val="66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9222994" y="1241805"/>
              <a:ext cx="861060" cy="2602230"/>
            </a:xfrm>
            <a:custGeom>
              <a:avLst/>
              <a:gdLst/>
              <a:ahLst/>
              <a:cxnLst/>
              <a:rect l="l" t="t" r="r" b="b"/>
              <a:pathLst>
                <a:path w="861059" h="2602229">
                  <a:moveTo>
                    <a:pt x="0" y="0"/>
                  </a:moveTo>
                  <a:lnTo>
                    <a:pt x="51702" y="513"/>
                  </a:lnTo>
                  <a:lnTo>
                    <a:pt x="103348" y="2053"/>
                  </a:lnTo>
                  <a:lnTo>
                    <a:pt x="154921" y="4616"/>
                  </a:lnTo>
                  <a:lnTo>
                    <a:pt x="206407" y="8199"/>
                  </a:lnTo>
                  <a:lnTo>
                    <a:pt x="257791" y="12802"/>
                  </a:lnTo>
                  <a:lnTo>
                    <a:pt x="309057" y="18420"/>
                  </a:lnTo>
                  <a:lnTo>
                    <a:pt x="360190" y="25051"/>
                  </a:lnTo>
                  <a:lnTo>
                    <a:pt x="411177" y="32693"/>
                  </a:lnTo>
                  <a:lnTo>
                    <a:pt x="462000" y="41344"/>
                  </a:lnTo>
                  <a:lnTo>
                    <a:pt x="512646" y="51001"/>
                  </a:lnTo>
                  <a:lnTo>
                    <a:pt x="563100" y="61661"/>
                  </a:lnTo>
                  <a:lnTo>
                    <a:pt x="613345" y="73323"/>
                  </a:lnTo>
                  <a:lnTo>
                    <a:pt x="663368" y="85983"/>
                  </a:lnTo>
                  <a:lnTo>
                    <a:pt x="713154" y="99638"/>
                  </a:lnTo>
                  <a:lnTo>
                    <a:pt x="762686" y="114288"/>
                  </a:lnTo>
                  <a:lnTo>
                    <a:pt x="811951" y="129928"/>
                  </a:lnTo>
                  <a:lnTo>
                    <a:pt x="860932" y="146558"/>
                  </a:lnTo>
                  <a:lnTo>
                    <a:pt x="0" y="2602103"/>
                  </a:lnTo>
                  <a:lnTo>
                    <a:pt x="0" y="0"/>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9231502" y="1391411"/>
              <a:ext cx="1679575" cy="2455545"/>
            </a:xfrm>
            <a:custGeom>
              <a:avLst/>
              <a:gdLst/>
              <a:ahLst/>
              <a:cxnLst/>
              <a:rect l="l" t="t" r="r" b="b"/>
              <a:pathLst>
                <a:path w="1679575" h="2455545">
                  <a:moveTo>
                    <a:pt x="860932" y="0"/>
                  </a:moveTo>
                  <a:lnTo>
                    <a:pt x="0" y="2455545"/>
                  </a:lnTo>
                  <a:lnTo>
                    <a:pt x="1679194" y="467740"/>
                  </a:lnTo>
                  <a:lnTo>
                    <a:pt x="1640701" y="435839"/>
                  </a:lnTo>
                  <a:lnTo>
                    <a:pt x="1601631" y="404708"/>
                  </a:lnTo>
                  <a:lnTo>
                    <a:pt x="1561997" y="374355"/>
                  </a:lnTo>
                  <a:lnTo>
                    <a:pt x="1521810" y="344787"/>
                  </a:lnTo>
                  <a:lnTo>
                    <a:pt x="1481083" y="316009"/>
                  </a:lnTo>
                  <a:lnTo>
                    <a:pt x="1439827" y="288030"/>
                  </a:lnTo>
                  <a:lnTo>
                    <a:pt x="1398056" y="260855"/>
                  </a:lnTo>
                  <a:lnTo>
                    <a:pt x="1355779" y="234492"/>
                  </a:lnTo>
                  <a:lnTo>
                    <a:pt x="1313011" y="208948"/>
                  </a:lnTo>
                  <a:lnTo>
                    <a:pt x="1269763" y="184228"/>
                  </a:lnTo>
                  <a:lnTo>
                    <a:pt x="1226048" y="160340"/>
                  </a:lnTo>
                  <a:lnTo>
                    <a:pt x="1181876" y="137291"/>
                  </a:lnTo>
                  <a:lnTo>
                    <a:pt x="1137261" y="115088"/>
                  </a:lnTo>
                  <a:lnTo>
                    <a:pt x="1092214" y="93736"/>
                  </a:lnTo>
                  <a:lnTo>
                    <a:pt x="1046748" y="73244"/>
                  </a:lnTo>
                  <a:lnTo>
                    <a:pt x="1000875" y="53617"/>
                  </a:lnTo>
                  <a:lnTo>
                    <a:pt x="954606" y="34863"/>
                  </a:lnTo>
                  <a:lnTo>
                    <a:pt x="907955" y="16988"/>
                  </a:lnTo>
                  <a:lnTo>
                    <a:pt x="860932" y="0"/>
                  </a:lnTo>
                  <a:close/>
                </a:path>
              </a:pathLst>
            </a:custGeom>
            <a:solidFill>
              <a:srgbClr val="00CC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p:nvPr/>
          </p:nvSpPr>
          <p:spPr>
            <a:xfrm>
              <a:off x="9231502" y="1391411"/>
              <a:ext cx="1679575" cy="2455545"/>
            </a:xfrm>
            <a:custGeom>
              <a:avLst/>
              <a:gdLst/>
              <a:ahLst/>
              <a:cxnLst/>
              <a:rect l="l" t="t" r="r" b="b"/>
              <a:pathLst>
                <a:path w="1679575" h="2455545">
                  <a:moveTo>
                    <a:pt x="860932" y="0"/>
                  </a:moveTo>
                  <a:lnTo>
                    <a:pt x="907955" y="16988"/>
                  </a:lnTo>
                  <a:lnTo>
                    <a:pt x="954606" y="34863"/>
                  </a:lnTo>
                  <a:lnTo>
                    <a:pt x="1000875" y="53617"/>
                  </a:lnTo>
                  <a:lnTo>
                    <a:pt x="1046748" y="73244"/>
                  </a:lnTo>
                  <a:lnTo>
                    <a:pt x="1092214" y="93736"/>
                  </a:lnTo>
                  <a:lnTo>
                    <a:pt x="1137261" y="115088"/>
                  </a:lnTo>
                  <a:lnTo>
                    <a:pt x="1181876" y="137291"/>
                  </a:lnTo>
                  <a:lnTo>
                    <a:pt x="1226048" y="160340"/>
                  </a:lnTo>
                  <a:lnTo>
                    <a:pt x="1269763" y="184228"/>
                  </a:lnTo>
                  <a:lnTo>
                    <a:pt x="1313011" y="208948"/>
                  </a:lnTo>
                  <a:lnTo>
                    <a:pt x="1355779" y="234492"/>
                  </a:lnTo>
                  <a:lnTo>
                    <a:pt x="1398056" y="260855"/>
                  </a:lnTo>
                  <a:lnTo>
                    <a:pt x="1439827" y="288030"/>
                  </a:lnTo>
                  <a:lnTo>
                    <a:pt x="1481083" y="316009"/>
                  </a:lnTo>
                  <a:lnTo>
                    <a:pt x="1521810" y="344787"/>
                  </a:lnTo>
                  <a:lnTo>
                    <a:pt x="1561997" y="374355"/>
                  </a:lnTo>
                  <a:lnTo>
                    <a:pt x="1601631" y="404708"/>
                  </a:lnTo>
                  <a:lnTo>
                    <a:pt x="1640701" y="435839"/>
                  </a:lnTo>
                  <a:lnTo>
                    <a:pt x="1679194" y="467740"/>
                  </a:lnTo>
                  <a:lnTo>
                    <a:pt x="0" y="2455545"/>
                  </a:lnTo>
                  <a:lnTo>
                    <a:pt x="860932" y="0"/>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8" name="object 8"/>
            <p:cNvSpPr/>
            <p:nvPr/>
          </p:nvSpPr>
          <p:spPr>
            <a:xfrm>
              <a:off x="9238995" y="1865502"/>
              <a:ext cx="2313305" cy="1988185"/>
            </a:xfrm>
            <a:custGeom>
              <a:avLst/>
              <a:gdLst/>
              <a:ahLst/>
              <a:cxnLst/>
              <a:rect l="l" t="t" r="r" b="b"/>
              <a:pathLst>
                <a:path w="2313304" h="1988185">
                  <a:moveTo>
                    <a:pt x="1679194" y="0"/>
                  </a:moveTo>
                  <a:lnTo>
                    <a:pt x="0" y="1987931"/>
                  </a:lnTo>
                  <a:lnTo>
                    <a:pt x="2313304" y="796417"/>
                  </a:lnTo>
                  <a:lnTo>
                    <a:pt x="2289339" y="750973"/>
                  </a:lnTo>
                  <a:lnTo>
                    <a:pt x="2264503" y="706051"/>
                  </a:lnTo>
                  <a:lnTo>
                    <a:pt x="2238806" y="661663"/>
                  </a:lnTo>
                  <a:lnTo>
                    <a:pt x="2212256" y="617821"/>
                  </a:lnTo>
                  <a:lnTo>
                    <a:pt x="2184864" y="574536"/>
                  </a:lnTo>
                  <a:lnTo>
                    <a:pt x="2156638" y="531819"/>
                  </a:lnTo>
                  <a:lnTo>
                    <a:pt x="2127588" y="489682"/>
                  </a:lnTo>
                  <a:lnTo>
                    <a:pt x="2097724" y="448138"/>
                  </a:lnTo>
                  <a:lnTo>
                    <a:pt x="2067053" y="407197"/>
                  </a:lnTo>
                  <a:lnTo>
                    <a:pt x="2035587" y="366871"/>
                  </a:lnTo>
                  <a:lnTo>
                    <a:pt x="2003334" y="327172"/>
                  </a:lnTo>
                  <a:lnTo>
                    <a:pt x="1970304" y="288111"/>
                  </a:lnTo>
                  <a:lnTo>
                    <a:pt x="1936505" y="249700"/>
                  </a:lnTo>
                  <a:lnTo>
                    <a:pt x="1901948" y="211951"/>
                  </a:lnTo>
                  <a:lnTo>
                    <a:pt x="1866642" y="174875"/>
                  </a:lnTo>
                  <a:lnTo>
                    <a:pt x="1830595" y="138483"/>
                  </a:lnTo>
                  <a:lnTo>
                    <a:pt x="1793817" y="102789"/>
                  </a:lnTo>
                  <a:lnTo>
                    <a:pt x="1756318" y="67802"/>
                  </a:lnTo>
                  <a:lnTo>
                    <a:pt x="1718107" y="33535"/>
                  </a:lnTo>
                  <a:lnTo>
                    <a:pt x="1679194" y="0"/>
                  </a:lnTo>
                  <a:close/>
                </a:path>
              </a:pathLst>
            </a:custGeom>
            <a:solidFill>
              <a:srgbClr val="0099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p:nvPr/>
          </p:nvSpPr>
          <p:spPr>
            <a:xfrm>
              <a:off x="9238995" y="1865502"/>
              <a:ext cx="2313305" cy="1988185"/>
            </a:xfrm>
            <a:custGeom>
              <a:avLst/>
              <a:gdLst/>
              <a:ahLst/>
              <a:cxnLst/>
              <a:rect l="l" t="t" r="r" b="b"/>
              <a:pathLst>
                <a:path w="2313304" h="1988185">
                  <a:moveTo>
                    <a:pt x="1679194" y="0"/>
                  </a:moveTo>
                  <a:lnTo>
                    <a:pt x="1718107" y="33535"/>
                  </a:lnTo>
                  <a:lnTo>
                    <a:pt x="1756318" y="67802"/>
                  </a:lnTo>
                  <a:lnTo>
                    <a:pt x="1793817" y="102789"/>
                  </a:lnTo>
                  <a:lnTo>
                    <a:pt x="1830595" y="138483"/>
                  </a:lnTo>
                  <a:lnTo>
                    <a:pt x="1866642" y="174875"/>
                  </a:lnTo>
                  <a:lnTo>
                    <a:pt x="1901948" y="211951"/>
                  </a:lnTo>
                  <a:lnTo>
                    <a:pt x="1936505" y="249700"/>
                  </a:lnTo>
                  <a:lnTo>
                    <a:pt x="1970304" y="288111"/>
                  </a:lnTo>
                  <a:lnTo>
                    <a:pt x="2003334" y="327172"/>
                  </a:lnTo>
                  <a:lnTo>
                    <a:pt x="2035587" y="366871"/>
                  </a:lnTo>
                  <a:lnTo>
                    <a:pt x="2067053" y="407197"/>
                  </a:lnTo>
                  <a:lnTo>
                    <a:pt x="2097724" y="448138"/>
                  </a:lnTo>
                  <a:lnTo>
                    <a:pt x="2127588" y="489682"/>
                  </a:lnTo>
                  <a:lnTo>
                    <a:pt x="2156638" y="531819"/>
                  </a:lnTo>
                  <a:lnTo>
                    <a:pt x="2184864" y="574536"/>
                  </a:lnTo>
                  <a:lnTo>
                    <a:pt x="2212256" y="617821"/>
                  </a:lnTo>
                  <a:lnTo>
                    <a:pt x="2238806" y="661663"/>
                  </a:lnTo>
                  <a:lnTo>
                    <a:pt x="2264503" y="706051"/>
                  </a:lnTo>
                  <a:lnTo>
                    <a:pt x="2289339" y="750973"/>
                  </a:lnTo>
                  <a:lnTo>
                    <a:pt x="2313304" y="796417"/>
                  </a:lnTo>
                  <a:lnTo>
                    <a:pt x="0" y="1987931"/>
                  </a:lnTo>
                  <a:lnTo>
                    <a:pt x="1679194" y="0"/>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p:nvPr/>
          </p:nvSpPr>
          <p:spPr>
            <a:xfrm>
              <a:off x="9243822" y="2672080"/>
              <a:ext cx="2602230" cy="1197610"/>
            </a:xfrm>
            <a:custGeom>
              <a:avLst/>
              <a:gdLst/>
              <a:ahLst/>
              <a:cxnLst/>
              <a:rect l="l" t="t" r="r" b="b"/>
              <a:pathLst>
                <a:path w="2602229" h="1197610">
                  <a:moveTo>
                    <a:pt x="2313431" y="0"/>
                  </a:moveTo>
                  <a:lnTo>
                    <a:pt x="0" y="1191387"/>
                  </a:lnTo>
                  <a:lnTo>
                    <a:pt x="2602229" y="1197102"/>
                  </a:lnTo>
                  <a:lnTo>
                    <a:pt x="2601857" y="1147160"/>
                  </a:lnTo>
                  <a:lnTo>
                    <a:pt x="2600528" y="1097287"/>
                  </a:lnTo>
                  <a:lnTo>
                    <a:pt x="2598246" y="1047498"/>
                  </a:lnTo>
                  <a:lnTo>
                    <a:pt x="2595014" y="997804"/>
                  </a:lnTo>
                  <a:lnTo>
                    <a:pt x="2590836" y="948220"/>
                  </a:lnTo>
                  <a:lnTo>
                    <a:pt x="2585714" y="898759"/>
                  </a:lnTo>
                  <a:lnTo>
                    <a:pt x="2579652" y="849433"/>
                  </a:lnTo>
                  <a:lnTo>
                    <a:pt x="2572653" y="800257"/>
                  </a:lnTo>
                  <a:lnTo>
                    <a:pt x="2564721" y="751243"/>
                  </a:lnTo>
                  <a:lnTo>
                    <a:pt x="2555857" y="702405"/>
                  </a:lnTo>
                  <a:lnTo>
                    <a:pt x="2546067" y="653756"/>
                  </a:lnTo>
                  <a:lnTo>
                    <a:pt x="2535352" y="605310"/>
                  </a:lnTo>
                  <a:lnTo>
                    <a:pt x="2523716" y="557080"/>
                  </a:lnTo>
                  <a:lnTo>
                    <a:pt x="2511163" y="509079"/>
                  </a:lnTo>
                  <a:lnTo>
                    <a:pt x="2497695" y="461320"/>
                  </a:lnTo>
                  <a:lnTo>
                    <a:pt x="2483316" y="413818"/>
                  </a:lnTo>
                  <a:lnTo>
                    <a:pt x="2468029" y="366584"/>
                  </a:lnTo>
                  <a:lnTo>
                    <a:pt x="2451838" y="319633"/>
                  </a:lnTo>
                  <a:lnTo>
                    <a:pt x="2434744" y="272977"/>
                  </a:lnTo>
                  <a:lnTo>
                    <a:pt x="2416753" y="226630"/>
                  </a:lnTo>
                  <a:lnTo>
                    <a:pt x="2397866" y="180606"/>
                  </a:lnTo>
                  <a:lnTo>
                    <a:pt x="2378087" y="134918"/>
                  </a:lnTo>
                  <a:lnTo>
                    <a:pt x="2357420" y="89578"/>
                  </a:lnTo>
                  <a:lnTo>
                    <a:pt x="2335867" y="44601"/>
                  </a:lnTo>
                  <a:lnTo>
                    <a:pt x="2313431" y="0"/>
                  </a:lnTo>
                  <a:close/>
                </a:path>
              </a:pathLst>
            </a:custGeom>
            <a:solidFill>
              <a:srgbClr val="99CC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p:nvPr/>
          </p:nvSpPr>
          <p:spPr>
            <a:xfrm>
              <a:off x="9243822" y="2672080"/>
              <a:ext cx="2602230" cy="1197610"/>
            </a:xfrm>
            <a:custGeom>
              <a:avLst/>
              <a:gdLst/>
              <a:ahLst/>
              <a:cxnLst/>
              <a:rect l="l" t="t" r="r" b="b"/>
              <a:pathLst>
                <a:path w="2602229" h="1197610">
                  <a:moveTo>
                    <a:pt x="2313431" y="0"/>
                  </a:moveTo>
                  <a:lnTo>
                    <a:pt x="2335867" y="44601"/>
                  </a:lnTo>
                  <a:lnTo>
                    <a:pt x="2357420" y="89578"/>
                  </a:lnTo>
                  <a:lnTo>
                    <a:pt x="2378087" y="134918"/>
                  </a:lnTo>
                  <a:lnTo>
                    <a:pt x="2397866" y="180606"/>
                  </a:lnTo>
                  <a:lnTo>
                    <a:pt x="2416753" y="226630"/>
                  </a:lnTo>
                  <a:lnTo>
                    <a:pt x="2434744" y="272977"/>
                  </a:lnTo>
                  <a:lnTo>
                    <a:pt x="2451838" y="319633"/>
                  </a:lnTo>
                  <a:lnTo>
                    <a:pt x="2468029" y="366584"/>
                  </a:lnTo>
                  <a:lnTo>
                    <a:pt x="2483316" y="413818"/>
                  </a:lnTo>
                  <a:lnTo>
                    <a:pt x="2497695" y="461320"/>
                  </a:lnTo>
                  <a:lnTo>
                    <a:pt x="2511163" y="509079"/>
                  </a:lnTo>
                  <a:lnTo>
                    <a:pt x="2523716" y="557080"/>
                  </a:lnTo>
                  <a:lnTo>
                    <a:pt x="2535352" y="605310"/>
                  </a:lnTo>
                  <a:lnTo>
                    <a:pt x="2546067" y="653756"/>
                  </a:lnTo>
                  <a:lnTo>
                    <a:pt x="2555857" y="702405"/>
                  </a:lnTo>
                  <a:lnTo>
                    <a:pt x="2564721" y="751243"/>
                  </a:lnTo>
                  <a:lnTo>
                    <a:pt x="2572653" y="800257"/>
                  </a:lnTo>
                  <a:lnTo>
                    <a:pt x="2579652" y="849433"/>
                  </a:lnTo>
                  <a:lnTo>
                    <a:pt x="2585714" y="898759"/>
                  </a:lnTo>
                  <a:lnTo>
                    <a:pt x="2590836" y="948220"/>
                  </a:lnTo>
                  <a:lnTo>
                    <a:pt x="2595014" y="997804"/>
                  </a:lnTo>
                  <a:lnTo>
                    <a:pt x="2598246" y="1047498"/>
                  </a:lnTo>
                  <a:lnTo>
                    <a:pt x="2600528" y="1097287"/>
                  </a:lnTo>
                  <a:lnTo>
                    <a:pt x="2601857" y="1147160"/>
                  </a:lnTo>
                  <a:lnTo>
                    <a:pt x="2602229" y="1197102"/>
                  </a:lnTo>
                  <a:lnTo>
                    <a:pt x="0" y="1191387"/>
                  </a:lnTo>
                  <a:lnTo>
                    <a:pt x="2313431" y="0"/>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object 12"/>
            <p:cNvSpPr/>
            <p:nvPr/>
          </p:nvSpPr>
          <p:spPr>
            <a:xfrm>
              <a:off x="9243822" y="3875658"/>
              <a:ext cx="2602230" cy="1179830"/>
            </a:xfrm>
            <a:custGeom>
              <a:avLst/>
              <a:gdLst/>
              <a:ahLst/>
              <a:cxnLst/>
              <a:rect l="l" t="t" r="r" b="b"/>
              <a:pathLst>
                <a:path w="2602229" h="1179829">
                  <a:moveTo>
                    <a:pt x="0" y="0"/>
                  </a:moveTo>
                  <a:lnTo>
                    <a:pt x="2319654" y="1179449"/>
                  </a:lnTo>
                  <a:lnTo>
                    <a:pt x="2342309" y="1133785"/>
                  </a:lnTo>
                  <a:lnTo>
                    <a:pt x="2364042" y="1087736"/>
                  </a:lnTo>
                  <a:lnTo>
                    <a:pt x="2384850" y="1041316"/>
                  </a:lnTo>
                  <a:lnTo>
                    <a:pt x="2404730" y="994539"/>
                  </a:lnTo>
                  <a:lnTo>
                    <a:pt x="2423678" y="947418"/>
                  </a:lnTo>
                  <a:lnTo>
                    <a:pt x="2441692" y="899969"/>
                  </a:lnTo>
                  <a:lnTo>
                    <a:pt x="2458767" y="852205"/>
                  </a:lnTo>
                  <a:lnTo>
                    <a:pt x="2474900" y="804140"/>
                  </a:lnTo>
                  <a:lnTo>
                    <a:pt x="2490089" y="755788"/>
                  </a:lnTo>
                  <a:lnTo>
                    <a:pt x="2504329" y="707164"/>
                  </a:lnTo>
                  <a:lnTo>
                    <a:pt x="2517617" y="658282"/>
                  </a:lnTo>
                  <a:lnTo>
                    <a:pt x="2529951" y="609155"/>
                  </a:lnTo>
                  <a:lnTo>
                    <a:pt x="2541325" y="559798"/>
                  </a:lnTo>
                  <a:lnTo>
                    <a:pt x="2551739" y="510225"/>
                  </a:lnTo>
                  <a:lnTo>
                    <a:pt x="2561186" y="460450"/>
                  </a:lnTo>
                  <a:lnTo>
                    <a:pt x="2569666" y="410487"/>
                  </a:lnTo>
                  <a:lnTo>
                    <a:pt x="2577173" y="360350"/>
                  </a:lnTo>
                  <a:lnTo>
                    <a:pt x="2583705" y="310054"/>
                  </a:lnTo>
                  <a:lnTo>
                    <a:pt x="2589259" y="259612"/>
                  </a:lnTo>
                  <a:lnTo>
                    <a:pt x="2593830" y="209039"/>
                  </a:lnTo>
                  <a:lnTo>
                    <a:pt x="2597417" y="158349"/>
                  </a:lnTo>
                  <a:lnTo>
                    <a:pt x="2600014" y="107555"/>
                  </a:lnTo>
                  <a:lnTo>
                    <a:pt x="2601620" y="56672"/>
                  </a:lnTo>
                  <a:lnTo>
                    <a:pt x="2602229" y="5715"/>
                  </a:lnTo>
                  <a:lnTo>
                    <a:pt x="0" y="0"/>
                  </a:lnTo>
                  <a:close/>
                </a:path>
              </a:pathLst>
            </a:custGeom>
            <a:solidFill>
              <a:srgbClr val="6699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p:nvPr/>
          </p:nvSpPr>
          <p:spPr>
            <a:xfrm>
              <a:off x="9243822" y="3875658"/>
              <a:ext cx="2602230" cy="1179830"/>
            </a:xfrm>
            <a:custGeom>
              <a:avLst/>
              <a:gdLst/>
              <a:ahLst/>
              <a:cxnLst/>
              <a:rect l="l" t="t" r="r" b="b"/>
              <a:pathLst>
                <a:path w="2602229" h="1179829">
                  <a:moveTo>
                    <a:pt x="2602229" y="5715"/>
                  </a:moveTo>
                  <a:lnTo>
                    <a:pt x="2601620" y="56672"/>
                  </a:lnTo>
                  <a:lnTo>
                    <a:pt x="2600014" y="107555"/>
                  </a:lnTo>
                  <a:lnTo>
                    <a:pt x="2597417" y="158349"/>
                  </a:lnTo>
                  <a:lnTo>
                    <a:pt x="2593830" y="209039"/>
                  </a:lnTo>
                  <a:lnTo>
                    <a:pt x="2589259" y="259612"/>
                  </a:lnTo>
                  <a:lnTo>
                    <a:pt x="2583705" y="310054"/>
                  </a:lnTo>
                  <a:lnTo>
                    <a:pt x="2577173" y="360350"/>
                  </a:lnTo>
                  <a:lnTo>
                    <a:pt x="2569666" y="410487"/>
                  </a:lnTo>
                  <a:lnTo>
                    <a:pt x="2561186" y="460450"/>
                  </a:lnTo>
                  <a:lnTo>
                    <a:pt x="2551739" y="510225"/>
                  </a:lnTo>
                  <a:lnTo>
                    <a:pt x="2541325" y="559798"/>
                  </a:lnTo>
                  <a:lnTo>
                    <a:pt x="2529951" y="609155"/>
                  </a:lnTo>
                  <a:lnTo>
                    <a:pt x="2517617" y="658282"/>
                  </a:lnTo>
                  <a:lnTo>
                    <a:pt x="2504329" y="707164"/>
                  </a:lnTo>
                  <a:lnTo>
                    <a:pt x="2490089" y="755788"/>
                  </a:lnTo>
                  <a:lnTo>
                    <a:pt x="2474900" y="804140"/>
                  </a:lnTo>
                  <a:lnTo>
                    <a:pt x="2458767" y="852205"/>
                  </a:lnTo>
                  <a:lnTo>
                    <a:pt x="2441692" y="899969"/>
                  </a:lnTo>
                  <a:lnTo>
                    <a:pt x="2423678" y="947418"/>
                  </a:lnTo>
                  <a:lnTo>
                    <a:pt x="2404730" y="994539"/>
                  </a:lnTo>
                  <a:lnTo>
                    <a:pt x="2384850" y="1041316"/>
                  </a:lnTo>
                  <a:lnTo>
                    <a:pt x="2364042" y="1087736"/>
                  </a:lnTo>
                  <a:lnTo>
                    <a:pt x="2342309" y="1133785"/>
                  </a:lnTo>
                  <a:lnTo>
                    <a:pt x="2319654" y="1179449"/>
                  </a:lnTo>
                  <a:lnTo>
                    <a:pt x="0" y="0"/>
                  </a:lnTo>
                  <a:lnTo>
                    <a:pt x="2602229" y="5715"/>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p:nvPr/>
          </p:nvSpPr>
          <p:spPr>
            <a:xfrm>
              <a:off x="9238360" y="3886454"/>
              <a:ext cx="2319655" cy="2103120"/>
            </a:xfrm>
            <a:custGeom>
              <a:avLst/>
              <a:gdLst/>
              <a:ahLst/>
              <a:cxnLst/>
              <a:rect l="l" t="t" r="r" b="b"/>
              <a:pathLst>
                <a:path w="2319654" h="2103120">
                  <a:moveTo>
                    <a:pt x="0" y="0"/>
                  </a:moveTo>
                  <a:lnTo>
                    <a:pt x="1533144" y="2102650"/>
                  </a:lnTo>
                  <a:lnTo>
                    <a:pt x="1574222" y="2072074"/>
                  </a:lnTo>
                  <a:lnTo>
                    <a:pt x="1614649" y="2040730"/>
                  </a:lnTo>
                  <a:lnTo>
                    <a:pt x="1654413" y="2008629"/>
                  </a:lnTo>
                  <a:lnTo>
                    <a:pt x="1693506" y="1975783"/>
                  </a:lnTo>
                  <a:lnTo>
                    <a:pt x="1731918" y="1942201"/>
                  </a:lnTo>
                  <a:lnTo>
                    <a:pt x="1769639" y="1907897"/>
                  </a:lnTo>
                  <a:lnTo>
                    <a:pt x="1806660" y="1872880"/>
                  </a:lnTo>
                  <a:lnTo>
                    <a:pt x="1842972" y="1837162"/>
                  </a:lnTo>
                  <a:lnTo>
                    <a:pt x="1878564" y="1800754"/>
                  </a:lnTo>
                  <a:lnTo>
                    <a:pt x="1913427" y="1763667"/>
                  </a:lnTo>
                  <a:lnTo>
                    <a:pt x="1947552" y="1725913"/>
                  </a:lnTo>
                  <a:lnTo>
                    <a:pt x="1980930" y="1687502"/>
                  </a:lnTo>
                  <a:lnTo>
                    <a:pt x="2013550" y="1648447"/>
                  </a:lnTo>
                  <a:lnTo>
                    <a:pt x="2045402" y="1608757"/>
                  </a:lnTo>
                  <a:lnTo>
                    <a:pt x="2076479" y="1568444"/>
                  </a:lnTo>
                  <a:lnTo>
                    <a:pt x="2106770" y="1527520"/>
                  </a:lnTo>
                  <a:lnTo>
                    <a:pt x="2136265" y="1485996"/>
                  </a:lnTo>
                  <a:lnTo>
                    <a:pt x="2164955" y="1443882"/>
                  </a:lnTo>
                  <a:lnTo>
                    <a:pt x="2192830" y="1401189"/>
                  </a:lnTo>
                  <a:lnTo>
                    <a:pt x="2219881" y="1357930"/>
                  </a:lnTo>
                  <a:lnTo>
                    <a:pt x="2246099" y="1314116"/>
                  </a:lnTo>
                  <a:lnTo>
                    <a:pt x="2271473" y="1269756"/>
                  </a:lnTo>
                  <a:lnTo>
                    <a:pt x="2295995" y="1224863"/>
                  </a:lnTo>
                  <a:lnTo>
                    <a:pt x="2319655" y="1179449"/>
                  </a:lnTo>
                  <a:lnTo>
                    <a:pt x="0" y="0"/>
                  </a:lnTo>
                  <a:close/>
                </a:path>
              </a:pathLst>
            </a:custGeom>
            <a:solidFill>
              <a:srgbClr val="3366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5" name="object 15"/>
            <p:cNvSpPr/>
            <p:nvPr/>
          </p:nvSpPr>
          <p:spPr>
            <a:xfrm>
              <a:off x="9238360" y="3886454"/>
              <a:ext cx="2319655" cy="2103120"/>
            </a:xfrm>
            <a:custGeom>
              <a:avLst/>
              <a:gdLst/>
              <a:ahLst/>
              <a:cxnLst/>
              <a:rect l="l" t="t" r="r" b="b"/>
              <a:pathLst>
                <a:path w="2319654" h="2103120">
                  <a:moveTo>
                    <a:pt x="2319655" y="1179449"/>
                  </a:moveTo>
                  <a:lnTo>
                    <a:pt x="2295995" y="1224863"/>
                  </a:lnTo>
                  <a:lnTo>
                    <a:pt x="2271473" y="1269756"/>
                  </a:lnTo>
                  <a:lnTo>
                    <a:pt x="2246099" y="1314116"/>
                  </a:lnTo>
                  <a:lnTo>
                    <a:pt x="2219881" y="1357930"/>
                  </a:lnTo>
                  <a:lnTo>
                    <a:pt x="2192830" y="1401189"/>
                  </a:lnTo>
                  <a:lnTo>
                    <a:pt x="2164955" y="1443882"/>
                  </a:lnTo>
                  <a:lnTo>
                    <a:pt x="2136265" y="1485996"/>
                  </a:lnTo>
                  <a:lnTo>
                    <a:pt x="2106770" y="1527520"/>
                  </a:lnTo>
                  <a:lnTo>
                    <a:pt x="2076479" y="1568444"/>
                  </a:lnTo>
                  <a:lnTo>
                    <a:pt x="2045402" y="1608757"/>
                  </a:lnTo>
                  <a:lnTo>
                    <a:pt x="2013550" y="1648447"/>
                  </a:lnTo>
                  <a:lnTo>
                    <a:pt x="1980930" y="1687502"/>
                  </a:lnTo>
                  <a:lnTo>
                    <a:pt x="1947552" y="1725913"/>
                  </a:lnTo>
                  <a:lnTo>
                    <a:pt x="1913427" y="1763667"/>
                  </a:lnTo>
                  <a:lnTo>
                    <a:pt x="1878564" y="1800754"/>
                  </a:lnTo>
                  <a:lnTo>
                    <a:pt x="1842972" y="1837162"/>
                  </a:lnTo>
                  <a:lnTo>
                    <a:pt x="1806660" y="1872880"/>
                  </a:lnTo>
                  <a:lnTo>
                    <a:pt x="1769639" y="1907897"/>
                  </a:lnTo>
                  <a:lnTo>
                    <a:pt x="1731918" y="1942201"/>
                  </a:lnTo>
                  <a:lnTo>
                    <a:pt x="1693506" y="1975783"/>
                  </a:lnTo>
                  <a:lnTo>
                    <a:pt x="1654413" y="2008629"/>
                  </a:lnTo>
                  <a:lnTo>
                    <a:pt x="1614649" y="2040730"/>
                  </a:lnTo>
                  <a:lnTo>
                    <a:pt x="1574222" y="2072074"/>
                  </a:lnTo>
                  <a:lnTo>
                    <a:pt x="1533144" y="2102650"/>
                  </a:lnTo>
                  <a:lnTo>
                    <a:pt x="0" y="0"/>
                  </a:lnTo>
                  <a:lnTo>
                    <a:pt x="2319655" y="1179449"/>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6" name="object 16"/>
            <p:cNvSpPr/>
            <p:nvPr/>
          </p:nvSpPr>
          <p:spPr>
            <a:xfrm>
              <a:off x="9229597" y="3893185"/>
              <a:ext cx="1533525" cy="2527935"/>
            </a:xfrm>
            <a:custGeom>
              <a:avLst/>
              <a:gdLst/>
              <a:ahLst/>
              <a:cxnLst/>
              <a:rect l="l" t="t" r="r" b="b"/>
              <a:pathLst>
                <a:path w="1533525" h="2527935">
                  <a:moveTo>
                    <a:pt x="0" y="0"/>
                  </a:moveTo>
                  <a:lnTo>
                    <a:pt x="617981" y="2527757"/>
                  </a:lnTo>
                  <a:lnTo>
                    <a:pt x="667310" y="2515184"/>
                  </a:lnTo>
                  <a:lnTo>
                    <a:pt x="716342" y="2501661"/>
                  </a:lnTo>
                  <a:lnTo>
                    <a:pt x="765063" y="2487194"/>
                  </a:lnTo>
                  <a:lnTo>
                    <a:pt x="813461" y="2471788"/>
                  </a:lnTo>
                  <a:lnTo>
                    <a:pt x="861522" y="2455449"/>
                  </a:lnTo>
                  <a:lnTo>
                    <a:pt x="909233" y="2438184"/>
                  </a:lnTo>
                  <a:lnTo>
                    <a:pt x="956580" y="2419999"/>
                  </a:lnTo>
                  <a:lnTo>
                    <a:pt x="1003551" y="2400900"/>
                  </a:lnTo>
                  <a:lnTo>
                    <a:pt x="1050133" y="2380894"/>
                  </a:lnTo>
                  <a:lnTo>
                    <a:pt x="1096311" y="2359985"/>
                  </a:lnTo>
                  <a:lnTo>
                    <a:pt x="1142073" y="2338181"/>
                  </a:lnTo>
                  <a:lnTo>
                    <a:pt x="1187406" y="2315487"/>
                  </a:lnTo>
                  <a:lnTo>
                    <a:pt x="1232296" y="2291910"/>
                  </a:lnTo>
                  <a:lnTo>
                    <a:pt x="1276730" y="2267455"/>
                  </a:lnTo>
                  <a:lnTo>
                    <a:pt x="1320694" y="2242130"/>
                  </a:lnTo>
                  <a:lnTo>
                    <a:pt x="1364177" y="2215939"/>
                  </a:lnTo>
                  <a:lnTo>
                    <a:pt x="1407163" y="2188890"/>
                  </a:lnTo>
                  <a:lnTo>
                    <a:pt x="1449641" y="2160988"/>
                  </a:lnTo>
                  <a:lnTo>
                    <a:pt x="1491596" y="2132239"/>
                  </a:lnTo>
                  <a:lnTo>
                    <a:pt x="1533017" y="2102650"/>
                  </a:lnTo>
                  <a:lnTo>
                    <a:pt x="0" y="0"/>
                  </a:lnTo>
                  <a:close/>
                </a:path>
              </a:pathLst>
            </a:custGeom>
            <a:solidFill>
              <a:srgbClr val="FFCC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7" name="object 17"/>
            <p:cNvSpPr/>
            <p:nvPr/>
          </p:nvSpPr>
          <p:spPr>
            <a:xfrm>
              <a:off x="9229597" y="3893185"/>
              <a:ext cx="1533525" cy="2527935"/>
            </a:xfrm>
            <a:custGeom>
              <a:avLst/>
              <a:gdLst/>
              <a:ahLst/>
              <a:cxnLst/>
              <a:rect l="l" t="t" r="r" b="b"/>
              <a:pathLst>
                <a:path w="1533525" h="2527935">
                  <a:moveTo>
                    <a:pt x="1533017" y="2102650"/>
                  </a:moveTo>
                  <a:lnTo>
                    <a:pt x="1491596" y="2132239"/>
                  </a:lnTo>
                  <a:lnTo>
                    <a:pt x="1449641" y="2160988"/>
                  </a:lnTo>
                  <a:lnTo>
                    <a:pt x="1407163" y="2188890"/>
                  </a:lnTo>
                  <a:lnTo>
                    <a:pt x="1364177" y="2215939"/>
                  </a:lnTo>
                  <a:lnTo>
                    <a:pt x="1320694" y="2242130"/>
                  </a:lnTo>
                  <a:lnTo>
                    <a:pt x="1276730" y="2267455"/>
                  </a:lnTo>
                  <a:lnTo>
                    <a:pt x="1232296" y="2291910"/>
                  </a:lnTo>
                  <a:lnTo>
                    <a:pt x="1187406" y="2315487"/>
                  </a:lnTo>
                  <a:lnTo>
                    <a:pt x="1142073" y="2338181"/>
                  </a:lnTo>
                  <a:lnTo>
                    <a:pt x="1096311" y="2359985"/>
                  </a:lnTo>
                  <a:lnTo>
                    <a:pt x="1050133" y="2380894"/>
                  </a:lnTo>
                  <a:lnTo>
                    <a:pt x="1003551" y="2400900"/>
                  </a:lnTo>
                  <a:lnTo>
                    <a:pt x="956580" y="2419999"/>
                  </a:lnTo>
                  <a:lnTo>
                    <a:pt x="909233" y="2438184"/>
                  </a:lnTo>
                  <a:lnTo>
                    <a:pt x="861522" y="2455449"/>
                  </a:lnTo>
                  <a:lnTo>
                    <a:pt x="813461" y="2471788"/>
                  </a:lnTo>
                  <a:lnTo>
                    <a:pt x="765063" y="2487194"/>
                  </a:lnTo>
                  <a:lnTo>
                    <a:pt x="716342" y="2501661"/>
                  </a:lnTo>
                  <a:lnTo>
                    <a:pt x="667310" y="2515184"/>
                  </a:lnTo>
                  <a:lnTo>
                    <a:pt x="617981" y="2527757"/>
                  </a:lnTo>
                  <a:lnTo>
                    <a:pt x="0" y="0"/>
                  </a:lnTo>
                  <a:lnTo>
                    <a:pt x="1533017" y="2102650"/>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8" name="object 18"/>
            <p:cNvSpPr/>
            <p:nvPr/>
          </p:nvSpPr>
          <p:spPr>
            <a:xfrm>
              <a:off x="8877680" y="3895598"/>
              <a:ext cx="960755" cy="2602230"/>
            </a:xfrm>
            <a:custGeom>
              <a:avLst/>
              <a:gdLst/>
              <a:ahLst/>
              <a:cxnLst/>
              <a:rect l="l" t="t" r="r" b="b"/>
              <a:pathLst>
                <a:path w="960754" h="2602229">
                  <a:moveTo>
                    <a:pt x="342265" y="0"/>
                  </a:moveTo>
                  <a:lnTo>
                    <a:pt x="0" y="2579573"/>
                  </a:lnTo>
                  <a:lnTo>
                    <a:pt x="50652" y="2585787"/>
                  </a:lnTo>
                  <a:lnTo>
                    <a:pt x="101375" y="2591003"/>
                  </a:lnTo>
                  <a:lnTo>
                    <a:pt x="152152" y="2595222"/>
                  </a:lnTo>
                  <a:lnTo>
                    <a:pt x="202971" y="2598445"/>
                  </a:lnTo>
                  <a:lnTo>
                    <a:pt x="253816" y="2600672"/>
                  </a:lnTo>
                  <a:lnTo>
                    <a:pt x="304672" y="2601903"/>
                  </a:lnTo>
                  <a:lnTo>
                    <a:pt x="355526" y="2602141"/>
                  </a:lnTo>
                  <a:lnTo>
                    <a:pt x="406362" y="2601385"/>
                  </a:lnTo>
                  <a:lnTo>
                    <a:pt x="457166" y="2599637"/>
                  </a:lnTo>
                  <a:lnTo>
                    <a:pt x="507924" y="2596897"/>
                  </a:lnTo>
                  <a:lnTo>
                    <a:pt x="558620" y="2593166"/>
                  </a:lnTo>
                  <a:lnTo>
                    <a:pt x="609241" y="2588444"/>
                  </a:lnTo>
                  <a:lnTo>
                    <a:pt x="659772" y="2582733"/>
                  </a:lnTo>
                  <a:lnTo>
                    <a:pt x="710198" y="2576033"/>
                  </a:lnTo>
                  <a:lnTo>
                    <a:pt x="760504" y="2568346"/>
                  </a:lnTo>
                  <a:lnTo>
                    <a:pt x="810677" y="2559671"/>
                  </a:lnTo>
                  <a:lnTo>
                    <a:pt x="860701" y="2550010"/>
                  </a:lnTo>
                  <a:lnTo>
                    <a:pt x="910563" y="2539363"/>
                  </a:lnTo>
                  <a:lnTo>
                    <a:pt x="960247" y="2527731"/>
                  </a:lnTo>
                  <a:lnTo>
                    <a:pt x="342265" y="0"/>
                  </a:lnTo>
                  <a:close/>
                </a:path>
              </a:pathLst>
            </a:custGeom>
            <a:solidFill>
              <a:srgbClr val="FF00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object 19"/>
            <p:cNvSpPr/>
            <p:nvPr/>
          </p:nvSpPr>
          <p:spPr>
            <a:xfrm>
              <a:off x="8877680" y="3895598"/>
              <a:ext cx="960755" cy="2602230"/>
            </a:xfrm>
            <a:custGeom>
              <a:avLst/>
              <a:gdLst/>
              <a:ahLst/>
              <a:cxnLst/>
              <a:rect l="l" t="t" r="r" b="b"/>
              <a:pathLst>
                <a:path w="960754" h="2602229">
                  <a:moveTo>
                    <a:pt x="960247" y="2527731"/>
                  </a:moveTo>
                  <a:lnTo>
                    <a:pt x="910563" y="2539363"/>
                  </a:lnTo>
                  <a:lnTo>
                    <a:pt x="860701" y="2550010"/>
                  </a:lnTo>
                  <a:lnTo>
                    <a:pt x="810677" y="2559671"/>
                  </a:lnTo>
                  <a:lnTo>
                    <a:pt x="760504" y="2568346"/>
                  </a:lnTo>
                  <a:lnTo>
                    <a:pt x="710198" y="2576033"/>
                  </a:lnTo>
                  <a:lnTo>
                    <a:pt x="659772" y="2582733"/>
                  </a:lnTo>
                  <a:lnTo>
                    <a:pt x="609241" y="2588444"/>
                  </a:lnTo>
                  <a:lnTo>
                    <a:pt x="558620" y="2593166"/>
                  </a:lnTo>
                  <a:lnTo>
                    <a:pt x="507924" y="2596897"/>
                  </a:lnTo>
                  <a:lnTo>
                    <a:pt x="457166" y="2599637"/>
                  </a:lnTo>
                  <a:lnTo>
                    <a:pt x="406362" y="2601385"/>
                  </a:lnTo>
                  <a:lnTo>
                    <a:pt x="355526" y="2602141"/>
                  </a:lnTo>
                  <a:lnTo>
                    <a:pt x="304672" y="2601903"/>
                  </a:lnTo>
                  <a:lnTo>
                    <a:pt x="253816" y="2600672"/>
                  </a:lnTo>
                  <a:lnTo>
                    <a:pt x="202971" y="2598445"/>
                  </a:lnTo>
                  <a:lnTo>
                    <a:pt x="152152" y="2595222"/>
                  </a:lnTo>
                  <a:lnTo>
                    <a:pt x="101375" y="2591003"/>
                  </a:lnTo>
                  <a:lnTo>
                    <a:pt x="50652" y="2585787"/>
                  </a:lnTo>
                  <a:lnTo>
                    <a:pt x="0" y="2579573"/>
                  </a:lnTo>
                  <a:lnTo>
                    <a:pt x="342265" y="0"/>
                  </a:lnTo>
                  <a:lnTo>
                    <a:pt x="960247" y="2527731"/>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0" name="object 20"/>
            <p:cNvSpPr/>
            <p:nvPr/>
          </p:nvSpPr>
          <p:spPr>
            <a:xfrm>
              <a:off x="7931530" y="3894327"/>
              <a:ext cx="1278890" cy="2580005"/>
            </a:xfrm>
            <a:custGeom>
              <a:avLst/>
              <a:gdLst/>
              <a:ahLst/>
              <a:cxnLst/>
              <a:rect l="l" t="t" r="r" b="b"/>
              <a:pathLst>
                <a:path w="1278890" h="2580004">
                  <a:moveTo>
                    <a:pt x="1278763" y="0"/>
                  </a:moveTo>
                  <a:lnTo>
                    <a:pt x="0" y="2266238"/>
                  </a:lnTo>
                  <a:lnTo>
                    <a:pt x="43608" y="2290298"/>
                  </a:lnTo>
                  <a:lnTo>
                    <a:pt x="87631" y="2313499"/>
                  </a:lnTo>
                  <a:lnTo>
                    <a:pt x="132058" y="2335839"/>
                  </a:lnTo>
                  <a:lnTo>
                    <a:pt x="176875" y="2357312"/>
                  </a:lnTo>
                  <a:lnTo>
                    <a:pt x="222069" y="2377915"/>
                  </a:lnTo>
                  <a:lnTo>
                    <a:pt x="267627" y="2397642"/>
                  </a:lnTo>
                  <a:lnTo>
                    <a:pt x="313537" y="2416490"/>
                  </a:lnTo>
                  <a:lnTo>
                    <a:pt x="359785" y="2434454"/>
                  </a:lnTo>
                  <a:lnTo>
                    <a:pt x="406360" y="2451530"/>
                  </a:lnTo>
                  <a:lnTo>
                    <a:pt x="453247" y="2467714"/>
                  </a:lnTo>
                  <a:lnTo>
                    <a:pt x="500434" y="2483001"/>
                  </a:lnTo>
                  <a:lnTo>
                    <a:pt x="547908" y="2497388"/>
                  </a:lnTo>
                  <a:lnTo>
                    <a:pt x="595657" y="2510868"/>
                  </a:lnTo>
                  <a:lnTo>
                    <a:pt x="643667" y="2523440"/>
                  </a:lnTo>
                  <a:lnTo>
                    <a:pt x="691925" y="2535097"/>
                  </a:lnTo>
                  <a:lnTo>
                    <a:pt x="740420" y="2545836"/>
                  </a:lnTo>
                  <a:lnTo>
                    <a:pt x="789137" y="2555652"/>
                  </a:lnTo>
                  <a:lnTo>
                    <a:pt x="838064" y="2564541"/>
                  </a:lnTo>
                  <a:lnTo>
                    <a:pt x="887189" y="2572499"/>
                  </a:lnTo>
                  <a:lnTo>
                    <a:pt x="936498" y="2579522"/>
                  </a:lnTo>
                  <a:lnTo>
                    <a:pt x="1278763" y="0"/>
                  </a:lnTo>
                  <a:close/>
                </a:path>
              </a:pathLst>
            </a:custGeom>
            <a:solidFill>
              <a:srgbClr val="FF66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1" name="object 21"/>
            <p:cNvSpPr/>
            <p:nvPr/>
          </p:nvSpPr>
          <p:spPr>
            <a:xfrm>
              <a:off x="7931530" y="3894327"/>
              <a:ext cx="1278890" cy="2580005"/>
            </a:xfrm>
            <a:custGeom>
              <a:avLst/>
              <a:gdLst/>
              <a:ahLst/>
              <a:cxnLst/>
              <a:rect l="l" t="t" r="r" b="b"/>
              <a:pathLst>
                <a:path w="1278890" h="2580004">
                  <a:moveTo>
                    <a:pt x="936498" y="2579522"/>
                  </a:moveTo>
                  <a:lnTo>
                    <a:pt x="887189" y="2572499"/>
                  </a:lnTo>
                  <a:lnTo>
                    <a:pt x="838064" y="2564541"/>
                  </a:lnTo>
                  <a:lnTo>
                    <a:pt x="789137" y="2555652"/>
                  </a:lnTo>
                  <a:lnTo>
                    <a:pt x="740420" y="2545836"/>
                  </a:lnTo>
                  <a:lnTo>
                    <a:pt x="691925" y="2535097"/>
                  </a:lnTo>
                  <a:lnTo>
                    <a:pt x="643667" y="2523440"/>
                  </a:lnTo>
                  <a:lnTo>
                    <a:pt x="595657" y="2510868"/>
                  </a:lnTo>
                  <a:lnTo>
                    <a:pt x="547908" y="2497388"/>
                  </a:lnTo>
                  <a:lnTo>
                    <a:pt x="500434" y="2483001"/>
                  </a:lnTo>
                  <a:lnTo>
                    <a:pt x="453247" y="2467714"/>
                  </a:lnTo>
                  <a:lnTo>
                    <a:pt x="406360" y="2451530"/>
                  </a:lnTo>
                  <a:lnTo>
                    <a:pt x="359785" y="2434454"/>
                  </a:lnTo>
                  <a:lnTo>
                    <a:pt x="313537" y="2416490"/>
                  </a:lnTo>
                  <a:lnTo>
                    <a:pt x="267627" y="2397642"/>
                  </a:lnTo>
                  <a:lnTo>
                    <a:pt x="222069" y="2377915"/>
                  </a:lnTo>
                  <a:lnTo>
                    <a:pt x="176875" y="2357312"/>
                  </a:lnTo>
                  <a:lnTo>
                    <a:pt x="132058" y="2335839"/>
                  </a:lnTo>
                  <a:lnTo>
                    <a:pt x="87631" y="2313499"/>
                  </a:lnTo>
                  <a:lnTo>
                    <a:pt x="43608" y="2290298"/>
                  </a:lnTo>
                  <a:lnTo>
                    <a:pt x="0" y="2266238"/>
                  </a:lnTo>
                  <a:lnTo>
                    <a:pt x="1278763" y="0"/>
                  </a:lnTo>
                  <a:lnTo>
                    <a:pt x="936498" y="2579522"/>
                  </a:lnTo>
                  <a:close/>
                </a:path>
              </a:pathLst>
            </a:custGeom>
            <a:ln w="19049">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2" name="object 22"/>
            <p:cNvSpPr/>
            <p:nvPr/>
          </p:nvSpPr>
          <p:spPr>
            <a:xfrm>
              <a:off x="6061171" y="2632075"/>
              <a:ext cx="2602865" cy="3645535"/>
            </a:xfrm>
            <a:custGeom>
              <a:avLst/>
              <a:gdLst/>
              <a:ahLst/>
              <a:cxnLst/>
              <a:rect l="l" t="t" r="r" b="b"/>
              <a:pathLst>
                <a:path w="2602865" h="3645535">
                  <a:moveTo>
                    <a:pt x="395762" y="0"/>
                  </a:moveTo>
                  <a:lnTo>
                    <a:pt x="365472" y="49641"/>
                  </a:lnTo>
                  <a:lnTo>
                    <a:pt x="336326" y="99949"/>
                  </a:lnTo>
                  <a:lnTo>
                    <a:pt x="312954" y="142266"/>
                  </a:lnTo>
                  <a:lnTo>
                    <a:pt x="290450" y="184828"/>
                  </a:lnTo>
                  <a:lnTo>
                    <a:pt x="268809" y="227623"/>
                  </a:lnTo>
                  <a:lnTo>
                    <a:pt x="248030" y="270641"/>
                  </a:lnTo>
                  <a:lnTo>
                    <a:pt x="228108" y="313871"/>
                  </a:lnTo>
                  <a:lnTo>
                    <a:pt x="209043" y="357304"/>
                  </a:lnTo>
                  <a:lnTo>
                    <a:pt x="190830" y="400929"/>
                  </a:lnTo>
                  <a:lnTo>
                    <a:pt x="173466" y="444736"/>
                  </a:lnTo>
                  <a:lnTo>
                    <a:pt x="156949" y="488713"/>
                  </a:lnTo>
                  <a:lnTo>
                    <a:pt x="141277" y="532852"/>
                  </a:lnTo>
                  <a:lnTo>
                    <a:pt x="126445" y="577141"/>
                  </a:lnTo>
                  <a:lnTo>
                    <a:pt x="112451" y="621570"/>
                  </a:lnTo>
                  <a:lnTo>
                    <a:pt x="99293" y="666130"/>
                  </a:lnTo>
                  <a:lnTo>
                    <a:pt x="86967" y="710808"/>
                  </a:lnTo>
                  <a:lnTo>
                    <a:pt x="75470" y="755596"/>
                  </a:lnTo>
                  <a:lnTo>
                    <a:pt x="64800" y="800483"/>
                  </a:lnTo>
                  <a:lnTo>
                    <a:pt x="54954" y="845458"/>
                  </a:lnTo>
                  <a:lnTo>
                    <a:pt x="45929" y="890511"/>
                  </a:lnTo>
                  <a:lnTo>
                    <a:pt x="37721" y="935632"/>
                  </a:lnTo>
                  <a:lnTo>
                    <a:pt x="30329" y="980810"/>
                  </a:lnTo>
                  <a:lnTo>
                    <a:pt x="23748" y="1026036"/>
                  </a:lnTo>
                  <a:lnTo>
                    <a:pt x="17978" y="1071298"/>
                  </a:lnTo>
                  <a:lnTo>
                    <a:pt x="13013" y="1116586"/>
                  </a:lnTo>
                  <a:lnTo>
                    <a:pt x="8852" y="1161890"/>
                  </a:lnTo>
                  <a:lnTo>
                    <a:pt x="5492" y="1207200"/>
                  </a:lnTo>
                  <a:lnTo>
                    <a:pt x="2929" y="1252506"/>
                  </a:lnTo>
                  <a:lnTo>
                    <a:pt x="1162" y="1297796"/>
                  </a:lnTo>
                  <a:lnTo>
                    <a:pt x="186" y="1343061"/>
                  </a:lnTo>
                  <a:lnTo>
                    <a:pt x="0" y="1388290"/>
                  </a:lnTo>
                  <a:lnTo>
                    <a:pt x="599" y="1433473"/>
                  </a:lnTo>
                  <a:lnTo>
                    <a:pt x="1982" y="1478599"/>
                  </a:lnTo>
                  <a:lnTo>
                    <a:pt x="4146" y="1523659"/>
                  </a:lnTo>
                  <a:lnTo>
                    <a:pt x="7087" y="1568641"/>
                  </a:lnTo>
                  <a:lnTo>
                    <a:pt x="10803" y="1613536"/>
                  </a:lnTo>
                  <a:lnTo>
                    <a:pt x="15291" y="1658333"/>
                  </a:lnTo>
                  <a:lnTo>
                    <a:pt x="20547" y="1703022"/>
                  </a:lnTo>
                  <a:lnTo>
                    <a:pt x="26570" y="1747592"/>
                  </a:lnTo>
                  <a:lnTo>
                    <a:pt x="33356" y="1792033"/>
                  </a:lnTo>
                  <a:lnTo>
                    <a:pt x="40902" y="1836335"/>
                  </a:lnTo>
                  <a:lnTo>
                    <a:pt x="49206" y="1880487"/>
                  </a:lnTo>
                  <a:lnTo>
                    <a:pt x="58264" y="1924479"/>
                  </a:lnTo>
                  <a:lnTo>
                    <a:pt x="68073" y="1968301"/>
                  </a:lnTo>
                  <a:lnTo>
                    <a:pt x="78632" y="2011943"/>
                  </a:lnTo>
                  <a:lnTo>
                    <a:pt x="89936" y="2055393"/>
                  </a:lnTo>
                  <a:lnTo>
                    <a:pt x="101984" y="2098642"/>
                  </a:lnTo>
                  <a:lnTo>
                    <a:pt x="114771" y="2141679"/>
                  </a:lnTo>
                  <a:lnTo>
                    <a:pt x="128296" y="2184494"/>
                  </a:lnTo>
                  <a:lnTo>
                    <a:pt x="142555" y="2227076"/>
                  </a:lnTo>
                  <a:lnTo>
                    <a:pt x="157546" y="2269416"/>
                  </a:lnTo>
                  <a:lnTo>
                    <a:pt x="173265" y="2311503"/>
                  </a:lnTo>
                  <a:lnTo>
                    <a:pt x="189710" y="2353326"/>
                  </a:lnTo>
                  <a:lnTo>
                    <a:pt x="206877" y="2394875"/>
                  </a:lnTo>
                  <a:lnTo>
                    <a:pt x="224765" y="2436140"/>
                  </a:lnTo>
                  <a:lnTo>
                    <a:pt x="243370" y="2477111"/>
                  </a:lnTo>
                  <a:lnTo>
                    <a:pt x="262688" y="2517776"/>
                  </a:lnTo>
                  <a:lnTo>
                    <a:pt x="282719" y="2558127"/>
                  </a:lnTo>
                  <a:lnTo>
                    <a:pt x="303457" y="2598151"/>
                  </a:lnTo>
                  <a:lnTo>
                    <a:pt x="324901" y="2637840"/>
                  </a:lnTo>
                  <a:lnTo>
                    <a:pt x="347048" y="2677183"/>
                  </a:lnTo>
                  <a:lnTo>
                    <a:pt x="369894" y="2716168"/>
                  </a:lnTo>
                  <a:lnTo>
                    <a:pt x="393438" y="2754787"/>
                  </a:lnTo>
                  <a:lnTo>
                    <a:pt x="417675" y="2793028"/>
                  </a:lnTo>
                  <a:lnTo>
                    <a:pt x="442603" y="2830882"/>
                  </a:lnTo>
                  <a:lnTo>
                    <a:pt x="468220" y="2868338"/>
                  </a:lnTo>
                  <a:lnTo>
                    <a:pt x="494522" y="2905385"/>
                  </a:lnTo>
                  <a:lnTo>
                    <a:pt x="521506" y="2942013"/>
                  </a:lnTo>
                  <a:lnTo>
                    <a:pt x="549170" y="2978213"/>
                  </a:lnTo>
                  <a:lnTo>
                    <a:pt x="577511" y="3013972"/>
                  </a:lnTo>
                  <a:lnTo>
                    <a:pt x="606526" y="3049282"/>
                  </a:lnTo>
                  <a:lnTo>
                    <a:pt x="636211" y="3084132"/>
                  </a:lnTo>
                  <a:lnTo>
                    <a:pt x="666565" y="3118511"/>
                  </a:lnTo>
                  <a:lnTo>
                    <a:pt x="697583" y="3152410"/>
                  </a:lnTo>
                  <a:lnTo>
                    <a:pt x="729264" y="3185817"/>
                  </a:lnTo>
                  <a:lnTo>
                    <a:pt x="761605" y="3218723"/>
                  </a:lnTo>
                  <a:lnTo>
                    <a:pt x="794602" y="3251116"/>
                  </a:lnTo>
                  <a:lnTo>
                    <a:pt x="828252" y="3282988"/>
                  </a:lnTo>
                  <a:lnTo>
                    <a:pt x="862553" y="3314326"/>
                  </a:lnTo>
                  <a:lnTo>
                    <a:pt x="897503" y="3345122"/>
                  </a:lnTo>
                  <a:lnTo>
                    <a:pt x="933097" y="3375364"/>
                  </a:lnTo>
                  <a:lnTo>
                    <a:pt x="969333" y="3405043"/>
                  </a:lnTo>
                  <a:lnTo>
                    <a:pt x="1006208" y="3434148"/>
                  </a:lnTo>
                  <a:lnTo>
                    <a:pt x="1043720" y="3462668"/>
                  </a:lnTo>
                  <a:lnTo>
                    <a:pt x="1081865" y="3490594"/>
                  </a:lnTo>
                  <a:lnTo>
                    <a:pt x="1120641" y="3517914"/>
                  </a:lnTo>
                  <a:lnTo>
                    <a:pt x="1160045" y="3544619"/>
                  </a:lnTo>
                  <a:lnTo>
                    <a:pt x="1200073" y="3570698"/>
                  </a:lnTo>
                  <a:lnTo>
                    <a:pt x="1240723" y="3596141"/>
                  </a:lnTo>
                  <a:lnTo>
                    <a:pt x="1281992" y="3620938"/>
                  </a:lnTo>
                  <a:lnTo>
                    <a:pt x="1323878" y="3645077"/>
                  </a:lnTo>
                  <a:lnTo>
                    <a:pt x="2602641" y="1378839"/>
                  </a:lnTo>
                  <a:lnTo>
                    <a:pt x="395762" y="0"/>
                  </a:lnTo>
                  <a:close/>
                </a:path>
              </a:pathLst>
            </a:custGeom>
            <a:solidFill>
              <a:srgbClr val="FF99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object 23"/>
            <p:cNvSpPr/>
            <p:nvPr/>
          </p:nvSpPr>
          <p:spPr>
            <a:xfrm>
              <a:off x="6061171" y="2632075"/>
              <a:ext cx="2602865" cy="3645535"/>
            </a:xfrm>
            <a:custGeom>
              <a:avLst/>
              <a:gdLst/>
              <a:ahLst/>
              <a:cxnLst/>
              <a:rect l="l" t="t" r="r" b="b"/>
              <a:pathLst>
                <a:path w="2602865" h="3645535">
                  <a:moveTo>
                    <a:pt x="1323878" y="3645077"/>
                  </a:moveTo>
                  <a:lnTo>
                    <a:pt x="1281992" y="3620938"/>
                  </a:lnTo>
                  <a:lnTo>
                    <a:pt x="1240723" y="3596141"/>
                  </a:lnTo>
                  <a:lnTo>
                    <a:pt x="1200073" y="3570698"/>
                  </a:lnTo>
                  <a:lnTo>
                    <a:pt x="1160045" y="3544619"/>
                  </a:lnTo>
                  <a:lnTo>
                    <a:pt x="1120641" y="3517914"/>
                  </a:lnTo>
                  <a:lnTo>
                    <a:pt x="1081865" y="3490594"/>
                  </a:lnTo>
                  <a:lnTo>
                    <a:pt x="1043720" y="3462668"/>
                  </a:lnTo>
                  <a:lnTo>
                    <a:pt x="1006208" y="3434148"/>
                  </a:lnTo>
                  <a:lnTo>
                    <a:pt x="969333" y="3405043"/>
                  </a:lnTo>
                  <a:lnTo>
                    <a:pt x="933097" y="3375364"/>
                  </a:lnTo>
                  <a:lnTo>
                    <a:pt x="897503" y="3345122"/>
                  </a:lnTo>
                  <a:lnTo>
                    <a:pt x="862553" y="3314326"/>
                  </a:lnTo>
                  <a:lnTo>
                    <a:pt x="828252" y="3282988"/>
                  </a:lnTo>
                  <a:lnTo>
                    <a:pt x="794602" y="3251116"/>
                  </a:lnTo>
                  <a:lnTo>
                    <a:pt x="761605" y="3218723"/>
                  </a:lnTo>
                  <a:lnTo>
                    <a:pt x="729264" y="3185817"/>
                  </a:lnTo>
                  <a:lnTo>
                    <a:pt x="697583" y="3152410"/>
                  </a:lnTo>
                  <a:lnTo>
                    <a:pt x="666565" y="3118511"/>
                  </a:lnTo>
                  <a:lnTo>
                    <a:pt x="636211" y="3084132"/>
                  </a:lnTo>
                  <a:lnTo>
                    <a:pt x="606526" y="3049282"/>
                  </a:lnTo>
                  <a:lnTo>
                    <a:pt x="577511" y="3013972"/>
                  </a:lnTo>
                  <a:lnTo>
                    <a:pt x="549170" y="2978213"/>
                  </a:lnTo>
                  <a:lnTo>
                    <a:pt x="521506" y="2942013"/>
                  </a:lnTo>
                  <a:lnTo>
                    <a:pt x="494522" y="2905385"/>
                  </a:lnTo>
                  <a:lnTo>
                    <a:pt x="468220" y="2868338"/>
                  </a:lnTo>
                  <a:lnTo>
                    <a:pt x="442603" y="2830882"/>
                  </a:lnTo>
                  <a:lnTo>
                    <a:pt x="417675" y="2793028"/>
                  </a:lnTo>
                  <a:lnTo>
                    <a:pt x="393438" y="2754787"/>
                  </a:lnTo>
                  <a:lnTo>
                    <a:pt x="369894" y="2716168"/>
                  </a:lnTo>
                  <a:lnTo>
                    <a:pt x="347048" y="2677183"/>
                  </a:lnTo>
                  <a:lnTo>
                    <a:pt x="324901" y="2637840"/>
                  </a:lnTo>
                  <a:lnTo>
                    <a:pt x="303457" y="2598151"/>
                  </a:lnTo>
                  <a:lnTo>
                    <a:pt x="282719" y="2558127"/>
                  </a:lnTo>
                  <a:lnTo>
                    <a:pt x="262688" y="2517776"/>
                  </a:lnTo>
                  <a:lnTo>
                    <a:pt x="243370" y="2477111"/>
                  </a:lnTo>
                  <a:lnTo>
                    <a:pt x="224765" y="2436140"/>
                  </a:lnTo>
                  <a:lnTo>
                    <a:pt x="206877" y="2394875"/>
                  </a:lnTo>
                  <a:lnTo>
                    <a:pt x="189710" y="2353326"/>
                  </a:lnTo>
                  <a:lnTo>
                    <a:pt x="173265" y="2311503"/>
                  </a:lnTo>
                  <a:lnTo>
                    <a:pt x="157546" y="2269416"/>
                  </a:lnTo>
                  <a:lnTo>
                    <a:pt x="142555" y="2227076"/>
                  </a:lnTo>
                  <a:lnTo>
                    <a:pt x="128296" y="2184494"/>
                  </a:lnTo>
                  <a:lnTo>
                    <a:pt x="114771" y="2141679"/>
                  </a:lnTo>
                  <a:lnTo>
                    <a:pt x="101984" y="2098642"/>
                  </a:lnTo>
                  <a:lnTo>
                    <a:pt x="89936" y="2055393"/>
                  </a:lnTo>
                  <a:lnTo>
                    <a:pt x="78632" y="2011943"/>
                  </a:lnTo>
                  <a:lnTo>
                    <a:pt x="68073" y="1968301"/>
                  </a:lnTo>
                  <a:lnTo>
                    <a:pt x="58264" y="1924479"/>
                  </a:lnTo>
                  <a:lnTo>
                    <a:pt x="49206" y="1880487"/>
                  </a:lnTo>
                  <a:lnTo>
                    <a:pt x="40902" y="1836335"/>
                  </a:lnTo>
                  <a:lnTo>
                    <a:pt x="33356" y="1792033"/>
                  </a:lnTo>
                  <a:lnTo>
                    <a:pt x="26570" y="1747592"/>
                  </a:lnTo>
                  <a:lnTo>
                    <a:pt x="20547" y="1703022"/>
                  </a:lnTo>
                  <a:lnTo>
                    <a:pt x="15291" y="1658333"/>
                  </a:lnTo>
                  <a:lnTo>
                    <a:pt x="10803" y="1613536"/>
                  </a:lnTo>
                  <a:lnTo>
                    <a:pt x="7087" y="1568641"/>
                  </a:lnTo>
                  <a:lnTo>
                    <a:pt x="4146" y="1523659"/>
                  </a:lnTo>
                  <a:lnTo>
                    <a:pt x="1982" y="1478599"/>
                  </a:lnTo>
                  <a:lnTo>
                    <a:pt x="599" y="1433473"/>
                  </a:lnTo>
                  <a:lnTo>
                    <a:pt x="0" y="1388290"/>
                  </a:lnTo>
                  <a:lnTo>
                    <a:pt x="186" y="1343061"/>
                  </a:lnTo>
                  <a:lnTo>
                    <a:pt x="1162" y="1297796"/>
                  </a:lnTo>
                  <a:lnTo>
                    <a:pt x="2929" y="1252506"/>
                  </a:lnTo>
                  <a:lnTo>
                    <a:pt x="5492" y="1207200"/>
                  </a:lnTo>
                  <a:lnTo>
                    <a:pt x="8852" y="1161890"/>
                  </a:lnTo>
                  <a:lnTo>
                    <a:pt x="13013" y="1116586"/>
                  </a:lnTo>
                  <a:lnTo>
                    <a:pt x="17978" y="1071298"/>
                  </a:lnTo>
                  <a:lnTo>
                    <a:pt x="23748" y="1026036"/>
                  </a:lnTo>
                  <a:lnTo>
                    <a:pt x="30329" y="980810"/>
                  </a:lnTo>
                  <a:lnTo>
                    <a:pt x="37721" y="935632"/>
                  </a:lnTo>
                  <a:lnTo>
                    <a:pt x="45929" y="890511"/>
                  </a:lnTo>
                  <a:lnTo>
                    <a:pt x="54954" y="845458"/>
                  </a:lnTo>
                  <a:lnTo>
                    <a:pt x="64800" y="800483"/>
                  </a:lnTo>
                  <a:lnTo>
                    <a:pt x="75470" y="755596"/>
                  </a:lnTo>
                  <a:lnTo>
                    <a:pt x="86967" y="710808"/>
                  </a:lnTo>
                  <a:lnTo>
                    <a:pt x="99293" y="666130"/>
                  </a:lnTo>
                  <a:lnTo>
                    <a:pt x="112451" y="621570"/>
                  </a:lnTo>
                  <a:lnTo>
                    <a:pt x="126445" y="577141"/>
                  </a:lnTo>
                  <a:lnTo>
                    <a:pt x="141277" y="532852"/>
                  </a:lnTo>
                  <a:lnTo>
                    <a:pt x="156949" y="488713"/>
                  </a:lnTo>
                  <a:lnTo>
                    <a:pt x="173466" y="444736"/>
                  </a:lnTo>
                  <a:lnTo>
                    <a:pt x="190830" y="400929"/>
                  </a:lnTo>
                  <a:lnTo>
                    <a:pt x="209043" y="357304"/>
                  </a:lnTo>
                  <a:lnTo>
                    <a:pt x="228108" y="313871"/>
                  </a:lnTo>
                  <a:lnTo>
                    <a:pt x="248030" y="270641"/>
                  </a:lnTo>
                  <a:lnTo>
                    <a:pt x="268809" y="227623"/>
                  </a:lnTo>
                  <a:lnTo>
                    <a:pt x="290450" y="184828"/>
                  </a:lnTo>
                  <a:lnTo>
                    <a:pt x="312954" y="142266"/>
                  </a:lnTo>
                  <a:lnTo>
                    <a:pt x="336326" y="99949"/>
                  </a:lnTo>
                  <a:lnTo>
                    <a:pt x="365472" y="49641"/>
                  </a:lnTo>
                  <a:lnTo>
                    <a:pt x="395762" y="0"/>
                  </a:lnTo>
                  <a:lnTo>
                    <a:pt x="2602641" y="1378839"/>
                  </a:lnTo>
                  <a:lnTo>
                    <a:pt x="1323878" y="3645077"/>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object 24"/>
            <p:cNvSpPr/>
            <p:nvPr/>
          </p:nvSpPr>
          <p:spPr>
            <a:xfrm>
              <a:off x="6992238" y="1841754"/>
              <a:ext cx="2207260" cy="2011045"/>
            </a:xfrm>
            <a:custGeom>
              <a:avLst/>
              <a:gdLst/>
              <a:ahLst/>
              <a:cxnLst/>
              <a:rect l="l" t="t" r="r" b="b"/>
              <a:pathLst>
                <a:path w="2207259" h="2011045">
                  <a:moveTo>
                    <a:pt x="554989" y="0"/>
                  </a:moveTo>
                  <a:lnTo>
                    <a:pt x="516828" y="31975"/>
                  </a:lnTo>
                  <a:lnTo>
                    <a:pt x="479310" y="64651"/>
                  </a:lnTo>
                  <a:lnTo>
                    <a:pt x="442446" y="98015"/>
                  </a:lnTo>
                  <a:lnTo>
                    <a:pt x="406245" y="132058"/>
                  </a:lnTo>
                  <a:lnTo>
                    <a:pt x="370715" y="166770"/>
                  </a:lnTo>
                  <a:lnTo>
                    <a:pt x="335865" y="202141"/>
                  </a:lnTo>
                  <a:lnTo>
                    <a:pt x="301705" y="238161"/>
                  </a:lnTo>
                  <a:lnTo>
                    <a:pt x="268243" y="274820"/>
                  </a:lnTo>
                  <a:lnTo>
                    <a:pt x="235489" y="312107"/>
                  </a:lnTo>
                  <a:lnTo>
                    <a:pt x="203451" y="350013"/>
                  </a:lnTo>
                  <a:lnTo>
                    <a:pt x="172138" y="388527"/>
                  </a:lnTo>
                  <a:lnTo>
                    <a:pt x="141560" y="427639"/>
                  </a:lnTo>
                  <a:lnTo>
                    <a:pt x="111725" y="467340"/>
                  </a:lnTo>
                  <a:lnTo>
                    <a:pt x="82643" y="507619"/>
                  </a:lnTo>
                  <a:lnTo>
                    <a:pt x="54322" y="548466"/>
                  </a:lnTo>
                  <a:lnTo>
                    <a:pt x="26771" y="589871"/>
                  </a:lnTo>
                  <a:lnTo>
                    <a:pt x="0" y="631825"/>
                  </a:lnTo>
                  <a:lnTo>
                    <a:pt x="2206752" y="2010664"/>
                  </a:lnTo>
                  <a:lnTo>
                    <a:pt x="554989" y="0"/>
                  </a:lnTo>
                  <a:close/>
                </a:path>
              </a:pathLst>
            </a:custGeom>
            <a:solidFill>
              <a:srgbClr val="CC99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object 25"/>
            <p:cNvSpPr/>
            <p:nvPr/>
          </p:nvSpPr>
          <p:spPr>
            <a:xfrm>
              <a:off x="6992238" y="1841754"/>
              <a:ext cx="2207260" cy="2011045"/>
            </a:xfrm>
            <a:custGeom>
              <a:avLst/>
              <a:gdLst/>
              <a:ahLst/>
              <a:cxnLst/>
              <a:rect l="l" t="t" r="r" b="b"/>
              <a:pathLst>
                <a:path w="2207259" h="2011045">
                  <a:moveTo>
                    <a:pt x="0" y="631825"/>
                  </a:moveTo>
                  <a:lnTo>
                    <a:pt x="26771" y="589871"/>
                  </a:lnTo>
                  <a:lnTo>
                    <a:pt x="54322" y="548466"/>
                  </a:lnTo>
                  <a:lnTo>
                    <a:pt x="82643" y="507619"/>
                  </a:lnTo>
                  <a:lnTo>
                    <a:pt x="111725" y="467340"/>
                  </a:lnTo>
                  <a:lnTo>
                    <a:pt x="141560" y="427639"/>
                  </a:lnTo>
                  <a:lnTo>
                    <a:pt x="172138" y="388527"/>
                  </a:lnTo>
                  <a:lnTo>
                    <a:pt x="203451" y="350013"/>
                  </a:lnTo>
                  <a:lnTo>
                    <a:pt x="235489" y="312107"/>
                  </a:lnTo>
                  <a:lnTo>
                    <a:pt x="268243" y="274820"/>
                  </a:lnTo>
                  <a:lnTo>
                    <a:pt x="301705" y="238161"/>
                  </a:lnTo>
                  <a:lnTo>
                    <a:pt x="335865" y="202141"/>
                  </a:lnTo>
                  <a:lnTo>
                    <a:pt x="370715" y="166770"/>
                  </a:lnTo>
                  <a:lnTo>
                    <a:pt x="406245" y="132058"/>
                  </a:lnTo>
                  <a:lnTo>
                    <a:pt x="442446" y="98015"/>
                  </a:lnTo>
                  <a:lnTo>
                    <a:pt x="479310" y="64651"/>
                  </a:lnTo>
                  <a:lnTo>
                    <a:pt x="516828" y="31975"/>
                  </a:lnTo>
                  <a:lnTo>
                    <a:pt x="554989" y="0"/>
                  </a:lnTo>
                  <a:lnTo>
                    <a:pt x="2206752" y="2010664"/>
                  </a:lnTo>
                  <a:lnTo>
                    <a:pt x="0" y="631825"/>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6" name="object 26"/>
            <p:cNvSpPr/>
            <p:nvPr/>
          </p:nvSpPr>
          <p:spPr>
            <a:xfrm>
              <a:off x="7553832" y="1398523"/>
              <a:ext cx="1652270" cy="2448560"/>
            </a:xfrm>
            <a:custGeom>
              <a:avLst/>
              <a:gdLst/>
              <a:ahLst/>
              <a:cxnLst/>
              <a:rect l="l" t="t" r="r" b="b"/>
              <a:pathLst>
                <a:path w="1652270" h="2448560">
                  <a:moveTo>
                    <a:pt x="770763" y="0"/>
                  </a:moveTo>
                  <a:lnTo>
                    <a:pt x="724271" y="17242"/>
                  </a:lnTo>
                  <a:lnTo>
                    <a:pt x="678148" y="35353"/>
                  </a:lnTo>
                  <a:lnTo>
                    <a:pt x="632407" y="54326"/>
                  </a:lnTo>
                  <a:lnTo>
                    <a:pt x="587058" y="74153"/>
                  </a:lnTo>
                  <a:lnTo>
                    <a:pt x="542114" y="94828"/>
                  </a:lnTo>
                  <a:lnTo>
                    <a:pt x="497585" y="116346"/>
                  </a:lnTo>
                  <a:lnTo>
                    <a:pt x="453486" y="138698"/>
                  </a:lnTo>
                  <a:lnTo>
                    <a:pt x="409825" y="161878"/>
                  </a:lnTo>
                  <a:lnTo>
                    <a:pt x="366617" y="185880"/>
                  </a:lnTo>
                  <a:lnTo>
                    <a:pt x="323871" y="210697"/>
                  </a:lnTo>
                  <a:lnTo>
                    <a:pt x="281601" y="236322"/>
                  </a:lnTo>
                  <a:lnTo>
                    <a:pt x="239818" y="262748"/>
                  </a:lnTo>
                  <a:lnTo>
                    <a:pt x="198533" y="289970"/>
                  </a:lnTo>
                  <a:lnTo>
                    <a:pt x="157759" y="317980"/>
                  </a:lnTo>
                  <a:lnTo>
                    <a:pt x="117506" y="346771"/>
                  </a:lnTo>
                  <a:lnTo>
                    <a:pt x="77788" y="376338"/>
                  </a:lnTo>
                  <a:lnTo>
                    <a:pt x="38615" y="406672"/>
                  </a:lnTo>
                  <a:lnTo>
                    <a:pt x="0" y="437768"/>
                  </a:lnTo>
                  <a:lnTo>
                    <a:pt x="1651889" y="2448433"/>
                  </a:lnTo>
                  <a:lnTo>
                    <a:pt x="770763" y="0"/>
                  </a:lnTo>
                  <a:close/>
                </a:path>
              </a:pathLst>
            </a:custGeom>
            <a:solidFill>
              <a:srgbClr val="CC66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7" name="object 27"/>
            <p:cNvSpPr/>
            <p:nvPr/>
          </p:nvSpPr>
          <p:spPr>
            <a:xfrm>
              <a:off x="7553832" y="1398523"/>
              <a:ext cx="1652270" cy="2448560"/>
            </a:xfrm>
            <a:custGeom>
              <a:avLst/>
              <a:gdLst/>
              <a:ahLst/>
              <a:cxnLst/>
              <a:rect l="l" t="t" r="r" b="b"/>
              <a:pathLst>
                <a:path w="1652270" h="2448560">
                  <a:moveTo>
                    <a:pt x="0" y="437768"/>
                  </a:moveTo>
                  <a:lnTo>
                    <a:pt x="38615" y="406672"/>
                  </a:lnTo>
                  <a:lnTo>
                    <a:pt x="77788" y="376338"/>
                  </a:lnTo>
                  <a:lnTo>
                    <a:pt x="117506" y="346771"/>
                  </a:lnTo>
                  <a:lnTo>
                    <a:pt x="157759" y="317980"/>
                  </a:lnTo>
                  <a:lnTo>
                    <a:pt x="198533" y="289970"/>
                  </a:lnTo>
                  <a:lnTo>
                    <a:pt x="239818" y="262748"/>
                  </a:lnTo>
                  <a:lnTo>
                    <a:pt x="281601" y="236322"/>
                  </a:lnTo>
                  <a:lnTo>
                    <a:pt x="323871" y="210697"/>
                  </a:lnTo>
                  <a:lnTo>
                    <a:pt x="366617" y="185880"/>
                  </a:lnTo>
                  <a:lnTo>
                    <a:pt x="409825" y="161878"/>
                  </a:lnTo>
                  <a:lnTo>
                    <a:pt x="453486" y="138698"/>
                  </a:lnTo>
                  <a:lnTo>
                    <a:pt x="497585" y="116346"/>
                  </a:lnTo>
                  <a:lnTo>
                    <a:pt x="542114" y="94828"/>
                  </a:lnTo>
                  <a:lnTo>
                    <a:pt x="587058" y="74153"/>
                  </a:lnTo>
                  <a:lnTo>
                    <a:pt x="632407" y="54326"/>
                  </a:lnTo>
                  <a:lnTo>
                    <a:pt x="678148" y="35353"/>
                  </a:lnTo>
                  <a:lnTo>
                    <a:pt x="724271" y="17242"/>
                  </a:lnTo>
                  <a:lnTo>
                    <a:pt x="770763" y="0"/>
                  </a:lnTo>
                  <a:lnTo>
                    <a:pt x="1651889" y="2448433"/>
                  </a:lnTo>
                  <a:lnTo>
                    <a:pt x="0" y="437768"/>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8" name="object 28"/>
            <p:cNvSpPr/>
            <p:nvPr/>
          </p:nvSpPr>
          <p:spPr>
            <a:xfrm>
              <a:off x="8332977" y="1241805"/>
              <a:ext cx="881380" cy="2602230"/>
            </a:xfrm>
            <a:custGeom>
              <a:avLst/>
              <a:gdLst/>
              <a:ahLst/>
              <a:cxnLst/>
              <a:rect l="l" t="t" r="r" b="b"/>
              <a:pathLst>
                <a:path w="881379" h="2602229">
                  <a:moveTo>
                    <a:pt x="881126" y="0"/>
                  </a:moveTo>
                  <a:lnTo>
                    <a:pt x="831089" y="480"/>
                  </a:lnTo>
                  <a:lnTo>
                    <a:pt x="781106" y="1920"/>
                  </a:lnTo>
                  <a:lnTo>
                    <a:pt x="731190" y="4318"/>
                  </a:lnTo>
                  <a:lnTo>
                    <a:pt x="681356" y="7671"/>
                  </a:lnTo>
                  <a:lnTo>
                    <a:pt x="631618" y="11977"/>
                  </a:lnTo>
                  <a:lnTo>
                    <a:pt x="581989" y="17234"/>
                  </a:lnTo>
                  <a:lnTo>
                    <a:pt x="532483" y="23439"/>
                  </a:lnTo>
                  <a:lnTo>
                    <a:pt x="483113" y="30591"/>
                  </a:lnTo>
                  <a:lnTo>
                    <a:pt x="433895" y="38687"/>
                  </a:lnTo>
                  <a:lnTo>
                    <a:pt x="384841" y="47725"/>
                  </a:lnTo>
                  <a:lnTo>
                    <a:pt x="335966" y="57702"/>
                  </a:lnTo>
                  <a:lnTo>
                    <a:pt x="287283" y="68617"/>
                  </a:lnTo>
                  <a:lnTo>
                    <a:pt x="238806" y="80467"/>
                  </a:lnTo>
                  <a:lnTo>
                    <a:pt x="190549" y="93251"/>
                  </a:lnTo>
                  <a:lnTo>
                    <a:pt x="142526" y="106965"/>
                  </a:lnTo>
                  <a:lnTo>
                    <a:pt x="94751" y="121607"/>
                  </a:lnTo>
                  <a:lnTo>
                    <a:pt x="47238" y="137176"/>
                  </a:lnTo>
                  <a:lnTo>
                    <a:pt x="0" y="153670"/>
                  </a:lnTo>
                  <a:lnTo>
                    <a:pt x="881126" y="2602230"/>
                  </a:lnTo>
                  <a:lnTo>
                    <a:pt x="881126" y="0"/>
                  </a:lnTo>
                  <a:close/>
                </a:path>
              </a:pathLst>
            </a:custGeom>
            <a:solidFill>
              <a:srgbClr val="CC00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9" name="object 29"/>
            <p:cNvSpPr/>
            <p:nvPr/>
          </p:nvSpPr>
          <p:spPr>
            <a:xfrm>
              <a:off x="8332977" y="1241805"/>
              <a:ext cx="881380" cy="2602230"/>
            </a:xfrm>
            <a:custGeom>
              <a:avLst/>
              <a:gdLst/>
              <a:ahLst/>
              <a:cxnLst/>
              <a:rect l="l" t="t" r="r" b="b"/>
              <a:pathLst>
                <a:path w="881379" h="2602229">
                  <a:moveTo>
                    <a:pt x="0" y="153670"/>
                  </a:moveTo>
                  <a:lnTo>
                    <a:pt x="47238" y="137176"/>
                  </a:lnTo>
                  <a:lnTo>
                    <a:pt x="94751" y="121607"/>
                  </a:lnTo>
                  <a:lnTo>
                    <a:pt x="142526" y="106965"/>
                  </a:lnTo>
                  <a:lnTo>
                    <a:pt x="190549" y="93251"/>
                  </a:lnTo>
                  <a:lnTo>
                    <a:pt x="238806" y="80467"/>
                  </a:lnTo>
                  <a:lnTo>
                    <a:pt x="287283" y="68617"/>
                  </a:lnTo>
                  <a:lnTo>
                    <a:pt x="335966" y="57702"/>
                  </a:lnTo>
                  <a:lnTo>
                    <a:pt x="384841" y="47725"/>
                  </a:lnTo>
                  <a:lnTo>
                    <a:pt x="433895" y="38687"/>
                  </a:lnTo>
                  <a:lnTo>
                    <a:pt x="483113" y="30591"/>
                  </a:lnTo>
                  <a:lnTo>
                    <a:pt x="532483" y="23439"/>
                  </a:lnTo>
                  <a:lnTo>
                    <a:pt x="581989" y="17234"/>
                  </a:lnTo>
                  <a:lnTo>
                    <a:pt x="631618" y="11977"/>
                  </a:lnTo>
                  <a:lnTo>
                    <a:pt x="681356" y="7671"/>
                  </a:lnTo>
                  <a:lnTo>
                    <a:pt x="731190" y="4318"/>
                  </a:lnTo>
                  <a:lnTo>
                    <a:pt x="781106" y="1920"/>
                  </a:lnTo>
                  <a:lnTo>
                    <a:pt x="831089" y="480"/>
                  </a:lnTo>
                  <a:lnTo>
                    <a:pt x="881126" y="0"/>
                  </a:lnTo>
                  <a:lnTo>
                    <a:pt x="881126" y="2602230"/>
                  </a:lnTo>
                  <a:lnTo>
                    <a:pt x="0" y="153670"/>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30" name="object 30"/>
          <p:cNvGrpSpPr/>
          <p:nvPr/>
        </p:nvGrpSpPr>
        <p:grpSpPr>
          <a:xfrm>
            <a:off x="294513" y="1320164"/>
            <a:ext cx="120014" cy="120014"/>
            <a:chOff x="294513" y="1320164"/>
            <a:chExt cx="120014" cy="120014"/>
          </a:xfrm>
        </p:grpSpPr>
        <p:sp>
          <p:nvSpPr>
            <p:cNvPr id="31" name="object 31"/>
            <p:cNvSpPr/>
            <p:nvPr/>
          </p:nvSpPr>
          <p:spPr>
            <a:xfrm>
              <a:off x="304038" y="1329689"/>
              <a:ext cx="100965" cy="100965"/>
            </a:xfrm>
            <a:custGeom>
              <a:avLst/>
              <a:gdLst/>
              <a:ahLst/>
              <a:cxnLst/>
              <a:rect l="l" t="t" r="r" b="b"/>
              <a:pathLst>
                <a:path w="100964" h="100965">
                  <a:moveTo>
                    <a:pt x="100583" y="0"/>
                  </a:moveTo>
                  <a:lnTo>
                    <a:pt x="0" y="0"/>
                  </a:lnTo>
                  <a:lnTo>
                    <a:pt x="0" y="100584"/>
                  </a:lnTo>
                  <a:lnTo>
                    <a:pt x="100583" y="100584"/>
                  </a:lnTo>
                  <a:lnTo>
                    <a:pt x="100583" y="0"/>
                  </a:lnTo>
                  <a:close/>
                </a:path>
              </a:pathLst>
            </a:custGeom>
            <a:solidFill>
              <a:srgbClr val="66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2" name="object 32"/>
            <p:cNvSpPr/>
            <p:nvPr/>
          </p:nvSpPr>
          <p:spPr>
            <a:xfrm>
              <a:off x="304038" y="1329689"/>
              <a:ext cx="100965" cy="100965"/>
            </a:xfrm>
            <a:custGeom>
              <a:avLst/>
              <a:gdLst/>
              <a:ahLst/>
              <a:cxnLst/>
              <a:rect l="l" t="t" r="r" b="b"/>
              <a:pathLst>
                <a:path w="100964" h="100965">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33" name="object 33"/>
          <p:cNvGrpSpPr/>
          <p:nvPr/>
        </p:nvGrpSpPr>
        <p:grpSpPr>
          <a:xfrm>
            <a:off x="294513" y="1746885"/>
            <a:ext cx="120014" cy="120014"/>
            <a:chOff x="294513" y="1746885"/>
            <a:chExt cx="120014" cy="120014"/>
          </a:xfrm>
        </p:grpSpPr>
        <p:sp>
          <p:nvSpPr>
            <p:cNvPr id="34" name="object 34"/>
            <p:cNvSpPr/>
            <p:nvPr/>
          </p:nvSpPr>
          <p:spPr>
            <a:xfrm>
              <a:off x="304038" y="1756410"/>
              <a:ext cx="100965" cy="100965"/>
            </a:xfrm>
            <a:custGeom>
              <a:avLst/>
              <a:gdLst/>
              <a:ahLst/>
              <a:cxnLst/>
              <a:rect l="l" t="t" r="r" b="b"/>
              <a:pathLst>
                <a:path w="100964" h="100964">
                  <a:moveTo>
                    <a:pt x="100583" y="0"/>
                  </a:moveTo>
                  <a:lnTo>
                    <a:pt x="0" y="0"/>
                  </a:lnTo>
                  <a:lnTo>
                    <a:pt x="0" y="100584"/>
                  </a:lnTo>
                  <a:lnTo>
                    <a:pt x="100583" y="100584"/>
                  </a:lnTo>
                  <a:lnTo>
                    <a:pt x="100583" y="0"/>
                  </a:lnTo>
                  <a:close/>
                </a:path>
              </a:pathLst>
            </a:custGeom>
            <a:solidFill>
              <a:srgbClr val="00CC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5" name="object 35"/>
            <p:cNvSpPr/>
            <p:nvPr/>
          </p:nvSpPr>
          <p:spPr>
            <a:xfrm>
              <a:off x="304038" y="1756410"/>
              <a:ext cx="100965" cy="100965"/>
            </a:xfrm>
            <a:custGeom>
              <a:avLst/>
              <a:gdLst/>
              <a:ahLst/>
              <a:cxnLst/>
              <a:rect l="l" t="t" r="r" b="b"/>
              <a:pathLst>
                <a:path w="100964" h="100964">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36" name="object 36"/>
          <p:cNvGrpSpPr/>
          <p:nvPr/>
        </p:nvGrpSpPr>
        <p:grpSpPr>
          <a:xfrm>
            <a:off x="294513" y="2173604"/>
            <a:ext cx="120014" cy="120014"/>
            <a:chOff x="294513" y="2173604"/>
            <a:chExt cx="120014" cy="120014"/>
          </a:xfrm>
        </p:grpSpPr>
        <p:sp>
          <p:nvSpPr>
            <p:cNvPr id="37" name="object 37"/>
            <p:cNvSpPr/>
            <p:nvPr/>
          </p:nvSpPr>
          <p:spPr>
            <a:xfrm>
              <a:off x="304038" y="2183129"/>
              <a:ext cx="100965" cy="100965"/>
            </a:xfrm>
            <a:custGeom>
              <a:avLst/>
              <a:gdLst/>
              <a:ahLst/>
              <a:cxnLst/>
              <a:rect l="l" t="t" r="r" b="b"/>
              <a:pathLst>
                <a:path w="100964" h="100964">
                  <a:moveTo>
                    <a:pt x="100583" y="0"/>
                  </a:moveTo>
                  <a:lnTo>
                    <a:pt x="0" y="0"/>
                  </a:lnTo>
                  <a:lnTo>
                    <a:pt x="0" y="100584"/>
                  </a:lnTo>
                  <a:lnTo>
                    <a:pt x="100583" y="100584"/>
                  </a:lnTo>
                  <a:lnTo>
                    <a:pt x="100583" y="0"/>
                  </a:lnTo>
                  <a:close/>
                </a:path>
              </a:pathLst>
            </a:custGeom>
            <a:solidFill>
              <a:srgbClr val="0099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8" name="object 38"/>
            <p:cNvSpPr/>
            <p:nvPr/>
          </p:nvSpPr>
          <p:spPr>
            <a:xfrm>
              <a:off x="304038" y="2183129"/>
              <a:ext cx="100965" cy="100965"/>
            </a:xfrm>
            <a:custGeom>
              <a:avLst/>
              <a:gdLst/>
              <a:ahLst/>
              <a:cxnLst/>
              <a:rect l="l" t="t" r="r" b="b"/>
              <a:pathLst>
                <a:path w="100964" h="100964">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39" name="object 39"/>
          <p:cNvGrpSpPr/>
          <p:nvPr/>
        </p:nvGrpSpPr>
        <p:grpSpPr>
          <a:xfrm>
            <a:off x="294513" y="2598801"/>
            <a:ext cx="120014" cy="120014"/>
            <a:chOff x="294513" y="2598801"/>
            <a:chExt cx="120014" cy="120014"/>
          </a:xfrm>
        </p:grpSpPr>
        <p:sp>
          <p:nvSpPr>
            <p:cNvPr id="40" name="object 40"/>
            <p:cNvSpPr/>
            <p:nvPr/>
          </p:nvSpPr>
          <p:spPr>
            <a:xfrm>
              <a:off x="304038" y="2608326"/>
              <a:ext cx="100965" cy="100965"/>
            </a:xfrm>
            <a:custGeom>
              <a:avLst/>
              <a:gdLst/>
              <a:ahLst/>
              <a:cxnLst/>
              <a:rect l="l" t="t" r="r" b="b"/>
              <a:pathLst>
                <a:path w="100964" h="100964">
                  <a:moveTo>
                    <a:pt x="100583" y="0"/>
                  </a:moveTo>
                  <a:lnTo>
                    <a:pt x="0" y="0"/>
                  </a:lnTo>
                  <a:lnTo>
                    <a:pt x="0" y="100584"/>
                  </a:lnTo>
                  <a:lnTo>
                    <a:pt x="100583" y="100584"/>
                  </a:lnTo>
                  <a:lnTo>
                    <a:pt x="100583" y="0"/>
                  </a:lnTo>
                  <a:close/>
                </a:path>
              </a:pathLst>
            </a:custGeom>
            <a:solidFill>
              <a:srgbClr val="99CC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1" name="object 41"/>
            <p:cNvSpPr/>
            <p:nvPr/>
          </p:nvSpPr>
          <p:spPr>
            <a:xfrm>
              <a:off x="304038" y="2608326"/>
              <a:ext cx="100965" cy="100965"/>
            </a:xfrm>
            <a:custGeom>
              <a:avLst/>
              <a:gdLst/>
              <a:ahLst/>
              <a:cxnLst/>
              <a:rect l="l" t="t" r="r" b="b"/>
              <a:pathLst>
                <a:path w="100964" h="100964">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42" name="object 42"/>
          <p:cNvGrpSpPr/>
          <p:nvPr/>
        </p:nvGrpSpPr>
        <p:grpSpPr>
          <a:xfrm>
            <a:off x="294513" y="3025520"/>
            <a:ext cx="120014" cy="120014"/>
            <a:chOff x="294513" y="3025520"/>
            <a:chExt cx="120014" cy="120014"/>
          </a:xfrm>
        </p:grpSpPr>
        <p:sp>
          <p:nvSpPr>
            <p:cNvPr id="43" name="object 43"/>
            <p:cNvSpPr/>
            <p:nvPr/>
          </p:nvSpPr>
          <p:spPr>
            <a:xfrm>
              <a:off x="304038" y="3035045"/>
              <a:ext cx="100965" cy="100965"/>
            </a:xfrm>
            <a:custGeom>
              <a:avLst/>
              <a:gdLst/>
              <a:ahLst/>
              <a:cxnLst/>
              <a:rect l="l" t="t" r="r" b="b"/>
              <a:pathLst>
                <a:path w="100964" h="100964">
                  <a:moveTo>
                    <a:pt x="100583" y="0"/>
                  </a:moveTo>
                  <a:lnTo>
                    <a:pt x="0" y="0"/>
                  </a:lnTo>
                  <a:lnTo>
                    <a:pt x="0" y="100584"/>
                  </a:lnTo>
                  <a:lnTo>
                    <a:pt x="100583" y="100584"/>
                  </a:lnTo>
                  <a:lnTo>
                    <a:pt x="100583" y="0"/>
                  </a:lnTo>
                  <a:close/>
                </a:path>
              </a:pathLst>
            </a:custGeom>
            <a:solidFill>
              <a:srgbClr val="6699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4" name="object 44"/>
            <p:cNvSpPr/>
            <p:nvPr/>
          </p:nvSpPr>
          <p:spPr>
            <a:xfrm>
              <a:off x="304038" y="3035045"/>
              <a:ext cx="100965" cy="100965"/>
            </a:xfrm>
            <a:custGeom>
              <a:avLst/>
              <a:gdLst/>
              <a:ahLst/>
              <a:cxnLst/>
              <a:rect l="l" t="t" r="r" b="b"/>
              <a:pathLst>
                <a:path w="100964" h="100964">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45" name="object 45"/>
          <p:cNvGrpSpPr/>
          <p:nvPr/>
        </p:nvGrpSpPr>
        <p:grpSpPr>
          <a:xfrm>
            <a:off x="294513" y="3452240"/>
            <a:ext cx="120014" cy="120014"/>
            <a:chOff x="294513" y="3452240"/>
            <a:chExt cx="120014" cy="120014"/>
          </a:xfrm>
        </p:grpSpPr>
        <p:sp>
          <p:nvSpPr>
            <p:cNvPr id="46" name="object 46"/>
            <p:cNvSpPr/>
            <p:nvPr/>
          </p:nvSpPr>
          <p:spPr>
            <a:xfrm>
              <a:off x="304038" y="3461765"/>
              <a:ext cx="100965" cy="100965"/>
            </a:xfrm>
            <a:custGeom>
              <a:avLst/>
              <a:gdLst/>
              <a:ahLst/>
              <a:cxnLst/>
              <a:rect l="l" t="t" r="r" b="b"/>
              <a:pathLst>
                <a:path w="100964" h="100964">
                  <a:moveTo>
                    <a:pt x="100583" y="0"/>
                  </a:moveTo>
                  <a:lnTo>
                    <a:pt x="0" y="0"/>
                  </a:lnTo>
                  <a:lnTo>
                    <a:pt x="0" y="100584"/>
                  </a:lnTo>
                  <a:lnTo>
                    <a:pt x="100583" y="100584"/>
                  </a:lnTo>
                  <a:lnTo>
                    <a:pt x="100583" y="0"/>
                  </a:lnTo>
                  <a:close/>
                </a:path>
              </a:pathLst>
            </a:custGeom>
            <a:solidFill>
              <a:srgbClr val="3366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7" name="object 47"/>
            <p:cNvSpPr/>
            <p:nvPr/>
          </p:nvSpPr>
          <p:spPr>
            <a:xfrm>
              <a:off x="304038" y="3461765"/>
              <a:ext cx="100965" cy="100965"/>
            </a:xfrm>
            <a:custGeom>
              <a:avLst/>
              <a:gdLst/>
              <a:ahLst/>
              <a:cxnLst/>
              <a:rect l="l" t="t" r="r" b="b"/>
              <a:pathLst>
                <a:path w="100964" h="100964">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48" name="object 48"/>
          <p:cNvGrpSpPr/>
          <p:nvPr/>
        </p:nvGrpSpPr>
        <p:grpSpPr>
          <a:xfrm>
            <a:off x="294513" y="3877436"/>
            <a:ext cx="120014" cy="120014"/>
            <a:chOff x="294513" y="3877436"/>
            <a:chExt cx="120014" cy="120014"/>
          </a:xfrm>
        </p:grpSpPr>
        <p:sp>
          <p:nvSpPr>
            <p:cNvPr id="49" name="object 49"/>
            <p:cNvSpPr/>
            <p:nvPr/>
          </p:nvSpPr>
          <p:spPr>
            <a:xfrm>
              <a:off x="304038" y="3886961"/>
              <a:ext cx="100965" cy="100965"/>
            </a:xfrm>
            <a:custGeom>
              <a:avLst/>
              <a:gdLst/>
              <a:ahLst/>
              <a:cxnLst/>
              <a:rect l="l" t="t" r="r" b="b"/>
              <a:pathLst>
                <a:path w="100964" h="100964">
                  <a:moveTo>
                    <a:pt x="100583" y="0"/>
                  </a:moveTo>
                  <a:lnTo>
                    <a:pt x="0" y="0"/>
                  </a:lnTo>
                  <a:lnTo>
                    <a:pt x="0" y="100583"/>
                  </a:lnTo>
                  <a:lnTo>
                    <a:pt x="100583" y="100583"/>
                  </a:lnTo>
                  <a:lnTo>
                    <a:pt x="100583" y="0"/>
                  </a:lnTo>
                  <a:close/>
                </a:path>
              </a:pathLst>
            </a:custGeom>
            <a:solidFill>
              <a:srgbClr val="FFCC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0" name="object 50"/>
            <p:cNvSpPr/>
            <p:nvPr/>
          </p:nvSpPr>
          <p:spPr>
            <a:xfrm>
              <a:off x="304038" y="3886961"/>
              <a:ext cx="100965" cy="100965"/>
            </a:xfrm>
            <a:custGeom>
              <a:avLst/>
              <a:gdLst/>
              <a:ahLst/>
              <a:cxnLst/>
              <a:rect l="l" t="t" r="r" b="b"/>
              <a:pathLst>
                <a:path w="100964" h="100964">
                  <a:moveTo>
                    <a:pt x="0" y="100583"/>
                  </a:moveTo>
                  <a:lnTo>
                    <a:pt x="100583" y="100583"/>
                  </a:lnTo>
                  <a:lnTo>
                    <a:pt x="100583" y="0"/>
                  </a:lnTo>
                  <a:lnTo>
                    <a:pt x="0" y="0"/>
                  </a:lnTo>
                  <a:lnTo>
                    <a:pt x="0" y="100583"/>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51" name="object 51"/>
          <p:cNvGrpSpPr/>
          <p:nvPr/>
        </p:nvGrpSpPr>
        <p:grpSpPr>
          <a:xfrm>
            <a:off x="294513" y="4304157"/>
            <a:ext cx="120014" cy="120014"/>
            <a:chOff x="294513" y="4304157"/>
            <a:chExt cx="120014" cy="120014"/>
          </a:xfrm>
        </p:grpSpPr>
        <p:sp>
          <p:nvSpPr>
            <p:cNvPr id="52" name="object 52"/>
            <p:cNvSpPr/>
            <p:nvPr/>
          </p:nvSpPr>
          <p:spPr>
            <a:xfrm>
              <a:off x="304038" y="4313682"/>
              <a:ext cx="100965" cy="100965"/>
            </a:xfrm>
            <a:custGeom>
              <a:avLst/>
              <a:gdLst/>
              <a:ahLst/>
              <a:cxnLst/>
              <a:rect l="l" t="t" r="r" b="b"/>
              <a:pathLst>
                <a:path w="100964" h="100964">
                  <a:moveTo>
                    <a:pt x="100583" y="0"/>
                  </a:moveTo>
                  <a:lnTo>
                    <a:pt x="0" y="0"/>
                  </a:lnTo>
                  <a:lnTo>
                    <a:pt x="0" y="100583"/>
                  </a:lnTo>
                  <a:lnTo>
                    <a:pt x="100583" y="100583"/>
                  </a:lnTo>
                  <a:lnTo>
                    <a:pt x="100583" y="0"/>
                  </a:lnTo>
                  <a:close/>
                </a:path>
              </a:pathLst>
            </a:custGeom>
            <a:solidFill>
              <a:srgbClr val="FF00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 name="object 53"/>
            <p:cNvSpPr/>
            <p:nvPr/>
          </p:nvSpPr>
          <p:spPr>
            <a:xfrm>
              <a:off x="304038" y="4313682"/>
              <a:ext cx="100965" cy="100965"/>
            </a:xfrm>
            <a:custGeom>
              <a:avLst/>
              <a:gdLst/>
              <a:ahLst/>
              <a:cxnLst/>
              <a:rect l="l" t="t" r="r" b="b"/>
              <a:pathLst>
                <a:path w="100964" h="100964">
                  <a:moveTo>
                    <a:pt x="0" y="100583"/>
                  </a:moveTo>
                  <a:lnTo>
                    <a:pt x="100583" y="100583"/>
                  </a:lnTo>
                  <a:lnTo>
                    <a:pt x="100583" y="0"/>
                  </a:lnTo>
                  <a:lnTo>
                    <a:pt x="0" y="0"/>
                  </a:lnTo>
                  <a:lnTo>
                    <a:pt x="0" y="100583"/>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54" name="object 54"/>
          <p:cNvGrpSpPr/>
          <p:nvPr/>
        </p:nvGrpSpPr>
        <p:grpSpPr>
          <a:xfrm>
            <a:off x="294513" y="4730877"/>
            <a:ext cx="120014" cy="120014"/>
            <a:chOff x="294513" y="4730877"/>
            <a:chExt cx="120014" cy="120014"/>
          </a:xfrm>
        </p:grpSpPr>
        <p:sp>
          <p:nvSpPr>
            <p:cNvPr id="55" name="object 55"/>
            <p:cNvSpPr/>
            <p:nvPr/>
          </p:nvSpPr>
          <p:spPr>
            <a:xfrm>
              <a:off x="304038" y="4740402"/>
              <a:ext cx="100965" cy="100965"/>
            </a:xfrm>
            <a:custGeom>
              <a:avLst/>
              <a:gdLst/>
              <a:ahLst/>
              <a:cxnLst/>
              <a:rect l="l" t="t" r="r" b="b"/>
              <a:pathLst>
                <a:path w="100964" h="100964">
                  <a:moveTo>
                    <a:pt x="100583" y="0"/>
                  </a:moveTo>
                  <a:lnTo>
                    <a:pt x="0" y="0"/>
                  </a:lnTo>
                  <a:lnTo>
                    <a:pt x="0" y="100584"/>
                  </a:lnTo>
                  <a:lnTo>
                    <a:pt x="100583" y="100584"/>
                  </a:lnTo>
                  <a:lnTo>
                    <a:pt x="100583" y="0"/>
                  </a:lnTo>
                  <a:close/>
                </a:path>
              </a:pathLst>
            </a:custGeom>
            <a:solidFill>
              <a:srgbClr val="FF66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 name="object 56"/>
            <p:cNvSpPr/>
            <p:nvPr/>
          </p:nvSpPr>
          <p:spPr>
            <a:xfrm>
              <a:off x="304038" y="4740402"/>
              <a:ext cx="100965" cy="100965"/>
            </a:xfrm>
            <a:custGeom>
              <a:avLst/>
              <a:gdLst/>
              <a:ahLst/>
              <a:cxnLst/>
              <a:rect l="l" t="t" r="r" b="b"/>
              <a:pathLst>
                <a:path w="100964" h="100964">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57" name="object 57"/>
          <p:cNvGrpSpPr/>
          <p:nvPr/>
        </p:nvGrpSpPr>
        <p:grpSpPr>
          <a:xfrm>
            <a:off x="294513" y="5157596"/>
            <a:ext cx="120014" cy="120014"/>
            <a:chOff x="294513" y="5157596"/>
            <a:chExt cx="120014" cy="120014"/>
          </a:xfrm>
        </p:grpSpPr>
        <p:sp>
          <p:nvSpPr>
            <p:cNvPr id="58" name="object 58"/>
            <p:cNvSpPr/>
            <p:nvPr/>
          </p:nvSpPr>
          <p:spPr>
            <a:xfrm>
              <a:off x="304038" y="5167121"/>
              <a:ext cx="100965" cy="100965"/>
            </a:xfrm>
            <a:custGeom>
              <a:avLst/>
              <a:gdLst/>
              <a:ahLst/>
              <a:cxnLst/>
              <a:rect l="l" t="t" r="r" b="b"/>
              <a:pathLst>
                <a:path w="100964" h="100964">
                  <a:moveTo>
                    <a:pt x="100583" y="0"/>
                  </a:moveTo>
                  <a:lnTo>
                    <a:pt x="0" y="0"/>
                  </a:lnTo>
                  <a:lnTo>
                    <a:pt x="0" y="100583"/>
                  </a:lnTo>
                  <a:lnTo>
                    <a:pt x="100583" y="100583"/>
                  </a:lnTo>
                  <a:lnTo>
                    <a:pt x="100583" y="0"/>
                  </a:lnTo>
                  <a:close/>
                </a:path>
              </a:pathLst>
            </a:custGeom>
            <a:solidFill>
              <a:srgbClr val="FF99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 name="object 59"/>
            <p:cNvSpPr/>
            <p:nvPr/>
          </p:nvSpPr>
          <p:spPr>
            <a:xfrm>
              <a:off x="304038" y="5167121"/>
              <a:ext cx="100965" cy="100965"/>
            </a:xfrm>
            <a:custGeom>
              <a:avLst/>
              <a:gdLst/>
              <a:ahLst/>
              <a:cxnLst/>
              <a:rect l="l" t="t" r="r" b="b"/>
              <a:pathLst>
                <a:path w="100964" h="100964">
                  <a:moveTo>
                    <a:pt x="0" y="100583"/>
                  </a:moveTo>
                  <a:lnTo>
                    <a:pt x="100583" y="100583"/>
                  </a:lnTo>
                  <a:lnTo>
                    <a:pt x="100583" y="0"/>
                  </a:lnTo>
                  <a:lnTo>
                    <a:pt x="0" y="0"/>
                  </a:lnTo>
                  <a:lnTo>
                    <a:pt x="0" y="100583"/>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60" name="object 60"/>
          <p:cNvGrpSpPr/>
          <p:nvPr/>
        </p:nvGrpSpPr>
        <p:grpSpPr>
          <a:xfrm>
            <a:off x="294513" y="5582792"/>
            <a:ext cx="120014" cy="120014"/>
            <a:chOff x="294513" y="5582792"/>
            <a:chExt cx="120014" cy="120014"/>
          </a:xfrm>
        </p:grpSpPr>
        <p:sp>
          <p:nvSpPr>
            <p:cNvPr id="61" name="object 61"/>
            <p:cNvSpPr/>
            <p:nvPr/>
          </p:nvSpPr>
          <p:spPr>
            <a:xfrm>
              <a:off x="304038" y="5592317"/>
              <a:ext cx="100965" cy="100965"/>
            </a:xfrm>
            <a:custGeom>
              <a:avLst/>
              <a:gdLst/>
              <a:ahLst/>
              <a:cxnLst/>
              <a:rect l="l" t="t" r="r" b="b"/>
              <a:pathLst>
                <a:path w="100964" h="100964">
                  <a:moveTo>
                    <a:pt x="100583" y="0"/>
                  </a:moveTo>
                  <a:lnTo>
                    <a:pt x="0" y="0"/>
                  </a:lnTo>
                  <a:lnTo>
                    <a:pt x="0" y="100583"/>
                  </a:lnTo>
                  <a:lnTo>
                    <a:pt x="100583" y="100583"/>
                  </a:lnTo>
                  <a:lnTo>
                    <a:pt x="100583" y="0"/>
                  </a:lnTo>
                  <a:close/>
                </a:path>
              </a:pathLst>
            </a:custGeom>
            <a:solidFill>
              <a:srgbClr val="CC99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 name="object 62"/>
            <p:cNvSpPr/>
            <p:nvPr/>
          </p:nvSpPr>
          <p:spPr>
            <a:xfrm>
              <a:off x="304038" y="5592317"/>
              <a:ext cx="100965" cy="100965"/>
            </a:xfrm>
            <a:custGeom>
              <a:avLst/>
              <a:gdLst/>
              <a:ahLst/>
              <a:cxnLst/>
              <a:rect l="l" t="t" r="r" b="b"/>
              <a:pathLst>
                <a:path w="100964" h="100964">
                  <a:moveTo>
                    <a:pt x="0" y="100583"/>
                  </a:moveTo>
                  <a:lnTo>
                    <a:pt x="100583" y="100583"/>
                  </a:lnTo>
                  <a:lnTo>
                    <a:pt x="100583" y="0"/>
                  </a:lnTo>
                  <a:lnTo>
                    <a:pt x="0" y="0"/>
                  </a:lnTo>
                  <a:lnTo>
                    <a:pt x="0" y="100583"/>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63" name="object 63"/>
          <p:cNvGrpSpPr/>
          <p:nvPr/>
        </p:nvGrpSpPr>
        <p:grpSpPr>
          <a:xfrm>
            <a:off x="294513" y="6009513"/>
            <a:ext cx="120014" cy="120014"/>
            <a:chOff x="294513" y="6009513"/>
            <a:chExt cx="120014" cy="120014"/>
          </a:xfrm>
        </p:grpSpPr>
        <p:sp>
          <p:nvSpPr>
            <p:cNvPr id="64" name="object 64"/>
            <p:cNvSpPr/>
            <p:nvPr/>
          </p:nvSpPr>
          <p:spPr>
            <a:xfrm>
              <a:off x="304038" y="6019038"/>
              <a:ext cx="100965" cy="100965"/>
            </a:xfrm>
            <a:custGeom>
              <a:avLst/>
              <a:gdLst/>
              <a:ahLst/>
              <a:cxnLst/>
              <a:rect l="l" t="t" r="r" b="b"/>
              <a:pathLst>
                <a:path w="100964" h="100964">
                  <a:moveTo>
                    <a:pt x="100583" y="0"/>
                  </a:moveTo>
                  <a:lnTo>
                    <a:pt x="0" y="0"/>
                  </a:lnTo>
                  <a:lnTo>
                    <a:pt x="0" y="100584"/>
                  </a:lnTo>
                  <a:lnTo>
                    <a:pt x="100583" y="100584"/>
                  </a:lnTo>
                  <a:lnTo>
                    <a:pt x="100583" y="0"/>
                  </a:lnTo>
                  <a:close/>
                </a:path>
              </a:pathLst>
            </a:custGeom>
            <a:solidFill>
              <a:srgbClr val="CC66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 name="object 65"/>
            <p:cNvSpPr/>
            <p:nvPr/>
          </p:nvSpPr>
          <p:spPr>
            <a:xfrm>
              <a:off x="304038" y="6019038"/>
              <a:ext cx="100965" cy="100965"/>
            </a:xfrm>
            <a:custGeom>
              <a:avLst/>
              <a:gdLst/>
              <a:ahLst/>
              <a:cxnLst/>
              <a:rect l="l" t="t" r="r" b="b"/>
              <a:pathLst>
                <a:path w="100964" h="100964">
                  <a:moveTo>
                    <a:pt x="0" y="100584"/>
                  </a:moveTo>
                  <a:lnTo>
                    <a:pt x="100583" y="100584"/>
                  </a:lnTo>
                  <a:lnTo>
                    <a:pt x="100583" y="0"/>
                  </a:lnTo>
                  <a:lnTo>
                    <a:pt x="0" y="0"/>
                  </a:lnTo>
                  <a:lnTo>
                    <a:pt x="0" y="100584"/>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66" name="object 66"/>
          <p:cNvGrpSpPr/>
          <p:nvPr/>
        </p:nvGrpSpPr>
        <p:grpSpPr>
          <a:xfrm>
            <a:off x="294513" y="6436233"/>
            <a:ext cx="120014" cy="120014"/>
            <a:chOff x="294513" y="6436233"/>
            <a:chExt cx="120014" cy="120014"/>
          </a:xfrm>
        </p:grpSpPr>
        <p:sp>
          <p:nvSpPr>
            <p:cNvPr id="67" name="object 67"/>
            <p:cNvSpPr/>
            <p:nvPr/>
          </p:nvSpPr>
          <p:spPr>
            <a:xfrm>
              <a:off x="304038" y="6445758"/>
              <a:ext cx="100965" cy="100965"/>
            </a:xfrm>
            <a:custGeom>
              <a:avLst/>
              <a:gdLst/>
              <a:ahLst/>
              <a:cxnLst/>
              <a:rect l="l" t="t" r="r" b="b"/>
              <a:pathLst>
                <a:path w="100964" h="100965">
                  <a:moveTo>
                    <a:pt x="100583" y="0"/>
                  </a:moveTo>
                  <a:lnTo>
                    <a:pt x="0" y="0"/>
                  </a:lnTo>
                  <a:lnTo>
                    <a:pt x="0" y="100583"/>
                  </a:lnTo>
                  <a:lnTo>
                    <a:pt x="100583" y="100583"/>
                  </a:lnTo>
                  <a:lnTo>
                    <a:pt x="100583" y="0"/>
                  </a:lnTo>
                  <a:close/>
                </a:path>
              </a:pathLst>
            </a:custGeom>
            <a:solidFill>
              <a:srgbClr val="CC00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8" name="object 68"/>
            <p:cNvSpPr/>
            <p:nvPr/>
          </p:nvSpPr>
          <p:spPr>
            <a:xfrm>
              <a:off x="304038" y="6445758"/>
              <a:ext cx="100965" cy="100965"/>
            </a:xfrm>
            <a:custGeom>
              <a:avLst/>
              <a:gdLst/>
              <a:ahLst/>
              <a:cxnLst/>
              <a:rect l="l" t="t" r="r" b="b"/>
              <a:pathLst>
                <a:path w="100964" h="100965">
                  <a:moveTo>
                    <a:pt x="0" y="100583"/>
                  </a:moveTo>
                  <a:lnTo>
                    <a:pt x="100583" y="100583"/>
                  </a:lnTo>
                  <a:lnTo>
                    <a:pt x="100583" y="0"/>
                  </a:lnTo>
                  <a:lnTo>
                    <a:pt x="0" y="0"/>
                  </a:lnTo>
                  <a:lnTo>
                    <a:pt x="0" y="100583"/>
                  </a:lnTo>
                  <a:close/>
                </a:path>
              </a:pathLst>
            </a:custGeom>
            <a:ln w="190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69" name="object 69"/>
          <p:cNvSpPr txBox="1"/>
          <p:nvPr/>
        </p:nvSpPr>
        <p:spPr>
          <a:xfrm>
            <a:off x="437184" y="1241551"/>
            <a:ext cx="3589020" cy="535622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83</a:t>
            </a:r>
            <a:r>
              <a:rPr kumimoji="0" sz="1400" b="0" i="0" u="none" strike="noStrike" kern="0" cap="none" spc="2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Ceserean</a:t>
            </a:r>
            <a:r>
              <a:rPr kumimoji="0" sz="1400" b="0" i="0" u="none" strike="noStrike" kern="0" cap="none" spc="4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with</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Sterilization</a:t>
            </a:r>
            <a:r>
              <a:rPr kumimoji="0" sz="1400" b="0" i="0" u="none" strike="noStrike" kern="0" cap="none" spc="2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M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75"/>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84</a:t>
            </a:r>
            <a:r>
              <a:rPr kumimoji="0" sz="1400" b="0" i="0" u="none" strike="noStrike" kern="0" cap="none" spc="2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Ceserean</a:t>
            </a:r>
            <a:r>
              <a:rPr kumimoji="0" sz="1400" b="0" i="0" u="none" strike="noStrike" kern="0" cap="none" spc="4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with</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Sterilization</a:t>
            </a:r>
            <a:r>
              <a:rPr kumimoji="0" sz="1400" b="0" i="0" u="none" strike="noStrike" kern="0" cap="none" spc="2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8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85</a:t>
            </a:r>
            <a:r>
              <a:rPr kumimoji="0" sz="1400" b="0" i="0" u="none" strike="noStrike" kern="0" cap="none" spc="2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2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Ceserean</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with</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Sterilization</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no</a:t>
            </a:r>
            <a:r>
              <a:rPr kumimoji="0" sz="1400" b="0" i="0" u="none" strike="noStrike" kern="0" cap="none" spc="20" normalizeH="0" baseline="0" noProof="0" dirty="0">
                <a:ln>
                  <a:noFill/>
                </a:ln>
                <a:solidFill>
                  <a:srgbClr val="FFFFFF"/>
                </a:solidFill>
                <a:effectLst/>
                <a:uLnTx/>
                <a:uFillTx/>
                <a:latin typeface="Calibri"/>
                <a:cs typeface="Calibri"/>
              </a:rPr>
              <a:t> </a:t>
            </a:r>
            <a:r>
              <a:rPr kumimoji="0" sz="1400" b="0" i="0" u="none" strike="noStrike" kern="0" cap="none" spc="-10" normalizeH="0" baseline="0" noProof="0" dirty="0">
                <a:ln>
                  <a:noFill/>
                </a:ln>
                <a:solidFill>
                  <a:srgbClr val="FFFFFF"/>
                </a:solidFill>
                <a:effectLst/>
                <a:uLnTx/>
                <a:uFillTx/>
                <a:latin typeface="Calibri"/>
                <a:cs typeface="Calibri"/>
              </a:rPr>
              <a:t>CC/M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75"/>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805</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Ceserean -</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M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8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806</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Ceserean -</a:t>
            </a:r>
            <a:r>
              <a:rPr kumimoji="0" sz="1400" b="0" i="0" u="none" strike="noStrike" kern="0" cap="none" spc="-1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75"/>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807</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Ceserean</a:t>
            </a:r>
            <a:r>
              <a:rPr kumimoji="0" sz="1400" b="0" i="0" u="none" strike="noStrike" kern="0" cap="none" spc="1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no</a:t>
            </a:r>
            <a:r>
              <a:rPr kumimoji="0" sz="1400" b="0" i="0" u="none" strike="noStrike" kern="0" cap="none" spc="-10" normalizeH="0" baseline="0" noProof="0" dirty="0">
                <a:ln>
                  <a:noFill/>
                </a:ln>
                <a:solidFill>
                  <a:srgbClr val="FFFFFF"/>
                </a:solidFill>
                <a:effectLst/>
                <a:uLnTx/>
                <a:uFillTx/>
                <a:latin typeface="Calibri"/>
                <a:cs typeface="Calibri"/>
              </a:rPr>
              <a:t> CC/M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75"/>
              </a:spcBef>
              <a:spcAft>
                <a:spcPts val="0"/>
              </a:spcAft>
              <a:buClrTx/>
              <a:buSzTx/>
              <a:buFontTx/>
              <a:buNone/>
              <a:tabLst/>
              <a:defRPr/>
            </a:pPr>
            <a:r>
              <a:rPr kumimoji="0" sz="1400" b="0" i="0" u="none" strike="noStrike" kern="0" cap="none" spc="-10" normalizeH="0" baseline="0" noProof="0" dirty="0">
                <a:ln>
                  <a:noFill/>
                </a:ln>
                <a:solidFill>
                  <a:srgbClr val="FFFFFF"/>
                </a:solidFill>
                <a:effectLst/>
                <a:uLnTx/>
                <a:uFillTx/>
                <a:latin typeface="Calibri"/>
                <a:cs typeface="Calibri"/>
              </a:rPr>
              <a:t>768</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 Vaginal</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Birth with</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OR</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8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86</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Vaginal</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Birth -</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M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75"/>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87</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Vaginal</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Birth -</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8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88</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Vaginal Birth -</a:t>
            </a:r>
            <a:r>
              <a:rPr kumimoji="0" sz="1400" b="0" i="0" u="none" strike="noStrike" kern="0" cap="none" spc="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no</a:t>
            </a:r>
            <a:r>
              <a:rPr kumimoji="0" sz="1400" b="0" i="0" u="none" strike="noStrike" kern="0" cap="none" spc="-10" normalizeH="0" baseline="0" noProof="0" dirty="0">
                <a:ln>
                  <a:noFill/>
                </a:ln>
                <a:solidFill>
                  <a:srgbClr val="FFFFFF"/>
                </a:solidFill>
                <a:effectLst/>
                <a:uLnTx/>
                <a:uFillTx/>
                <a:latin typeface="Calibri"/>
                <a:cs typeface="Calibri"/>
              </a:rPr>
              <a:t> CC/M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75"/>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96</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Vaginal</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Birth</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with</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Sterilization</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M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8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97</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Vaginal</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Birth</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with</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Sterilization</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25" normalizeH="0" baseline="0" noProof="0" dirty="0">
                <a:ln>
                  <a:noFill/>
                </a:ln>
                <a:solidFill>
                  <a:srgbClr val="FFFFFF"/>
                </a:solidFill>
                <a:effectLst/>
                <a:uLnTx/>
                <a:uFillTx/>
                <a:latin typeface="Calibri"/>
                <a:cs typeface="Calibri"/>
              </a:rPr>
              <a:t>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675"/>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Calibri"/>
                <a:cs typeface="Calibri"/>
              </a:rPr>
              <a:t>798</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Vaginal</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Birth</a:t>
            </a:r>
            <a:r>
              <a:rPr kumimoji="0" sz="1400" b="0" i="0" u="none" strike="noStrike" kern="0" cap="none" spc="4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with</a:t>
            </a:r>
            <a:r>
              <a:rPr kumimoji="0" sz="1400" b="0" i="0" u="none" strike="noStrike" kern="0" cap="none" spc="35"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Sterilization-</a:t>
            </a:r>
            <a:r>
              <a:rPr kumimoji="0" sz="1400" b="0" i="0" u="none" strike="noStrike" kern="0" cap="none" spc="30" normalizeH="0" baseline="0" noProof="0" dirty="0">
                <a:ln>
                  <a:noFill/>
                </a:ln>
                <a:solidFill>
                  <a:srgbClr val="FFFFFF"/>
                </a:solidFill>
                <a:effectLst/>
                <a:uLnTx/>
                <a:uFillTx/>
                <a:latin typeface="Calibri"/>
                <a:cs typeface="Calibri"/>
              </a:rPr>
              <a:t> </a:t>
            </a:r>
            <a:r>
              <a:rPr kumimoji="0" sz="1400" b="0" i="0" u="none" strike="noStrike" kern="0" cap="none" spc="0" normalizeH="0" baseline="0" noProof="0" dirty="0">
                <a:ln>
                  <a:noFill/>
                </a:ln>
                <a:solidFill>
                  <a:srgbClr val="FFFFFF"/>
                </a:solidFill>
                <a:effectLst/>
                <a:uLnTx/>
                <a:uFillTx/>
                <a:latin typeface="Calibri"/>
                <a:cs typeface="Calibri"/>
              </a:rPr>
              <a:t>no</a:t>
            </a:r>
            <a:r>
              <a:rPr kumimoji="0" sz="1400" b="0" i="0" u="none" strike="noStrike" kern="0" cap="none" spc="45" normalizeH="0" baseline="0" noProof="0" dirty="0">
                <a:ln>
                  <a:noFill/>
                </a:ln>
                <a:solidFill>
                  <a:srgbClr val="FFFFFF"/>
                </a:solidFill>
                <a:effectLst/>
                <a:uLnTx/>
                <a:uFillTx/>
                <a:latin typeface="Calibri"/>
                <a:cs typeface="Calibri"/>
              </a:rPr>
              <a:t> </a:t>
            </a:r>
            <a:r>
              <a:rPr kumimoji="0" sz="1400" b="0" i="0" u="none" strike="noStrike" kern="0" cap="none" spc="-10" normalizeH="0" baseline="0" noProof="0" dirty="0">
                <a:ln>
                  <a:noFill/>
                </a:ln>
                <a:solidFill>
                  <a:srgbClr val="FFFFFF"/>
                </a:solidFill>
                <a:effectLst/>
                <a:uLnTx/>
                <a:uFillTx/>
                <a:latin typeface="Calibri"/>
                <a:cs typeface="Calibri"/>
              </a:rPr>
              <a:t>CC/MCC</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grpSp>
        <p:nvGrpSpPr>
          <p:cNvPr id="70" name="object 70"/>
          <p:cNvGrpSpPr/>
          <p:nvPr/>
        </p:nvGrpSpPr>
        <p:grpSpPr>
          <a:xfrm>
            <a:off x="3821303" y="2846704"/>
            <a:ext cx="2184400" cy="1341120"/>
            <a:chOff x="3821303" y="2846704"/>
            <a:chExt cx="2184400" cy="1341120"/>
          </a:xfrm>
        </p:grpSpPr>
        <p:sp>
          <p:nvSpPr>
            <p:cNvPr id="71" name="object 71"/>
            <p:cNvSpPr/>
            <p:nvPr/>
          </p:nvSpPr>
          <p:spPr>
            <a:xfrm>
              <a:off x="3827653" y="2853054"/>
              <a:ext cx="2171700" cy="1328420"/>
            </a:xfrm>
            <a:custGeom>
              <a:avLst/>
              <a:gdLst/>
              <a:ahLst/>
              <a:cxnLst/>
              <a:rect l="l" t="t" r="r" b="b"/>
              <a:pathLst>
                <a:path w="2171700" h="1328420">
                  <a:moveTo>
                    <a:pt x="1660271" y="0"/>
                  </a:moveTo>
                  <a:lnTo>
                    <a:pt x="1583944" y="332105"/>
                  </a:lnTo>
                  <a:lnTo>
                    <a:pt x="152781" y="2921"/>
                  </a:lnTo>
                  <a:lnTo>
                    <a:pt x="0" y="667131"/>
                  </a:lnTo>
                  <a:lnTo>
                    <a:pt x="1431163" y="996188"/>
                  </a:lnTo>
                  <a:lnTo>
                    <a:pt x="1354836" y="1328293"/>
                  </a:lnTo>
                  <a:lnTo>
                    <a:pt x="2171700" y="816864"/>
                  </a:lnTo>
                  <a:lnTo>
                    <a:pt x="1660271"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2" name="object 72"/>
            <p:cNvSpPr/>
            <p:nvPr/>
          </p:nvSpPr>
          <p:spPr>
            <a:xfrm>
              <a:off x="3827653" y="2853054"/>
              <a:ext cx="2171700" cy="1328420"/>
            </a:xfrm>
            <a:custGeom>
              <a:avLst/>
              <a:gdLst/>
              <a:ahLst/>
              <a:cxnLst/>
              <a:rect l="l" t="t" r="r" b="b"/>
              <a:pathLst>
                <a:path w="2171700" h="1328420">
                  <a:moveTo>
                    <a:pt x="152781" y="2921"/>
                  </a:moveTo>
                  <a:lnTo>
                    <a:pt x="1583944" y="332105"/>
                  </a:lnTo>
                  <a:lnTo>
                    <a:pt x="1660271" y="0"/>
                  </a:lnTo>
                  <a:lnTo>
                    <a:pt x="2171700" y="816864"/>
                  </a:lnTo>
                  <a:lnTo>
                    <a:pt x="1354836" y="1328293"/>
                  </a:lnTo>
                  <a:lnTo>
                    <a:pt x="1431163" y="996188"/>
                  </a:lnTo>
                  <a:lnTo>
                    <a:pt x="0" y="667131"/>
                  </a:lnTo>
                  <a:lnTo>
                    <a:pt x="152781" y="2921"/>
                  </a:lnTo>
                  <a:close/>
                </a:path>
              </a:pathLst>
            </a:custGeom>
            <a:ln w="12700">
              <a:solidFill>
                <a:srgbClr val="FFB3D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3" name="object 73"/>
            <p:cNvPicPr/>
            <p:nvPr/>
          </p:nvPicPr>
          <p:blipFill>
            <a:blip r:embed="rId2" cstate="print"/>
            <a:stretch>
              <a:fillRect/>
            </a:stretch>
          </p:blipFill>
          <p:spPr>
            <a:xfrm>
              <a:off x="4110863" y="3051555"/>
              <a:ext cx="1441069" cy="614680"/>
            </a:xfrm>
            <a:prstGeom prst="rect">
              <a:avLst/>
            </a:prstGeom>
          </p:spPr>
        </p:pic>
      </p:grpSp>
      <p:grpSp>
        <p:nvGrpSpPr>
          <p:cNvPr id="74" name="object 74"/>
          <p:cNvGrpSpPr/>
          <p:nvPr/>
        </p:nvGrpSpPr>
        <p:grpSpPr>
          <a:xfrm>
            <a:off x="3728846" y="4434459"/>
            <a:ext cx="2322830" cy="1362075"/>
            <a:chOff x="3728846" y="4434459"/>
            <a:chExt cx="2322830" cy="1362075"/>
          </a:xfrm>
        </p:grpSpPr>
        <p:sp>
          <p:nvSpPr>
            <p:cNvPr id="75" name="object 75"/>
            <p:cNvSpPr/>
            <p:nvPr/>
          </p:nvSpPr>
          <p:spPr>
            <a:xfrm>
              <a:off x="3735196" y="4440809"/>
              <a:ext cx="2310130" cy="1349375"/>
            </a:xfrm>
            <a:custGeom>
              <a:avLst/>
              <a:gdLst/>
              <a:ahLst/>
              <a:cxnLst/>
              <a:rect l="l" t="t" r="r" b="b"/>
              <a:pathLst>
                <a:path w="2310129" h="1349375">
                  <a:moveTo>
                    <a:pt x="1528952" y="0"/>
                  </a:moveTo>
                  <a:lnTo>
                    <a:pt x="1582292" y="337185"/>
                  </a:lnTo>
                  <a:lnTo>
                    <a:pt x="0" y="587756"/>
                  </a:lnTo>
                  <a:lnTo>
                    <a:pt x="106679" y="1262151"/>
                  </a:lnTo>
                  <a:lnTo>
                    <a:pt x="1689100" y="1011555"/>
                  </a:lnTo>
                  <a:lnTo>
                    <a:pt x="1742566" y="1348803"/>
                  </a:lnTo>
                  <a:lnTo>
                    <a:pt x="2310129" y="567690"/>
                  </a:lnTo>
                  <a:lnTo>
                    <a:pt x="1528952"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6" name="object 76"/>
            <p:cNvSpPr/>
            <p:nvPr/>
          </p:nvSpPr>
          <p:spPr>
            <a:xfrm>
              <a:off x="3735196" y="4440809"/>
              <a:ext cx="2310130" cy="1349375"/>
            </a:xfrm>
            <a:custGeom>
              <a:avLst/>
              <a:gdLst/>
              <a:ahLst/>
              <a:cxnLst/>
              <a:rect l="l" t="t" r="r" b="b"/>
              <a:pathLst>
                <a:path w="2310129" h="1349375">
                  <a:moveTo>
                    <a:pt x="0" y="587756"/>
                  </a:moveTo>
                  <a:lnTo>
                    <a:pt x="1582292" y="337185"/>
                  </a:lnTo>
                  <a:lnTo>
                    <a:pt x="1528952" y="0"/>
                  </a:lnTo>
                  <a:lnTo>
                    <a:pt x="2310129" y="567690"/>
                  </a:lnTo>
                  <a:lnTo>
                    <a:pt x="1742566" y="1348803"/>
                  </a:lnTo>
                  <a:lnTo>
                    <a:pt x="1689100" y="1011555"/>
                  </a:lnTo>
                  <a:lnTo>
                    <a:pt x="106679" y="1262151"/>
                  </a:lnTo>
                  <a:lnTo>
                    <a:pt x="0" y="587756"/>
                  </a:lnTo>
                  <a:close/>
                </a:path>
              </a:pathLst>
            </a:custGeom>
            <a:ln w="12700">
              <a:solidFill>
                <a:srgbClr val="FFB3D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7" name="object 77"/>
            <p:cNvPicPr/>
            <p:nvPr/>
          </p:nvPicPr>
          <p:blipFill>
            <a:blip r:embed="rId3" cstate="print"/>
            <a:stretch>
              <a:fillRect/>
            </a:stretch>
          </p:blipFill>
          <p:spPr>
            <a:xfrm>
              <a:off x="4156836" y="4934077"/>
              <a:ext cx="1171066" cy="581406"/>
            </a:xfrm>
            <a:prstGeom prst="rect">
              <a:avLst/>
            </a:prstGeom>
          </p:spPr>
        </p:pic>
      </p:grpSp>
      <p:sp>
        <p:nvSpPr>
          <p:cNvPr id="78" name="object 78"/>
          <p:cNvSpPr txBox="1"/>
          <p:nvPr/>
        </p:nvSpPr>
        <p:spPr>
          <a:xfrm>
            <a:off x="10657458" y="6513982"/>
            <a:ext cx="1456055" cy="18669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050" b="0" i="1" u="none" strike="noStrike" kern="0" cap="none" spc="0" normalizeH="0" baseline="0" noProof="0" dirty="0">
                <a:ln>
                  <a:noFill/>
                </a:ln>
                <a:solidFill>
                  <a:srgbClr val="FFFFFF"/>
                </a:solidFill>
                <a:effectLst/>
                <a:uLnTx/>
                <a:uFillTx/>
                <a:latin typeface="Calibri"/>
                <a:cs typeface="Calibri"/>
              </a:rPr>
              <a:t>(source:</a:t>
            </a:r>
            <a:r>
              <a:rPr kumimoji="0" sz="1050" b="0" i="1" u="none" strike="noStrike" kern="0" cap="none" spc="-10" normalizeH="0" baseline="0" noProof="0" dirty="0">
                <a:ln>
                  <a:noFill/>
                </a:ln>
                <a:solidFill>
                  <a:srgbClr val="FFFFFF"/>
                </a:solidFill>
                <a:effectLst/>
                <a:uLnTx/>
                <a:uFillTx/>
                <a:latin typeface="Calibri"/>
                <a:cs typeface="Calibri"/>
              </a:rPr>
              <a:t> </a:t>
            </a:r>
            <a:r>
              <a:rPr kumimoji="0" sz="1050" b="0" i="1" u="none" strike="noStrike" kern="0" cap="none" spc="0" normalizeH="0" baseline="0" noProof="0" dirty="0">
                <a:ln>
                  <a:noFill/>
                </a:ln>
                <a:solidFill>
                  <a:srgbClr val="FFFFFF"/>
                </a:solidFill>
                <a:effectLst/>
                <a:uLnTx/>
                <a:uFillTx/>
                <a:latin typeface="Calibri"/>
                <a:cs typeface="Calibri"/>
              </a:rPr>
              <a:t>Turquoise</a:t>
            </a:r>
            <a:r>
              <a:rPr kumimoji="0" sz="1050" b="0" i="1" u="none" strike="noStrike" kern="0" cap="none" spc="-15" normalizeH="0" baseline="0" noProof="0" dirty="0">
                <a:ln>
                  <a:noFill/>
                </a:ln>
                <a:solidFill>
                  <a:srgbClr val="FFFFFF"/>
                </a:solidFill>
                <a:effectLst/>
                <a:uLnTx/>
                <a:uFillTx/>
                <a:latin typeface="Calibri"/>
                <a:cs typeface="Calibri"/>
              </a:rPr>
              <a:t> </a:t>
            </a:r>
            <a:r>
              <a:rPr kumimoji="0" sz="1050" b="0" i="1" u="none" strike="noStrike" kern="0" cap="none" spc="-10" normalizeH="0" baseline="0" noProof="0" dirty="0">
                <a:ln>
                  <a:noFill/>
                </a:ln>
                <a:solidFill>
                  <a:srgbClr val="FFFFFF"/>
                </a:solidFill>
                <a:effectLst/>
                <a:uLnTx/>
                <a:uFillTx/>
                <a:latin typeface="Calibri"/>
                <a:cs typeface="Calibri"/>
              </a:rPr>
              <a:t>Health)</a:t>
            </a:r>
            <a:endParaRPr kumimoji="0" sz="105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278841" y="1179753"/>
            <a:ext cx="5601970" cy="4758690"/>
            <a:chOff x="278841" y="1179753"/>
            <a:chExt cx="5601970" cy="4758690"/>
          </a:xfrm>
        </p:grpSpPr>
        <p:pic>
          <p:nvPicPr>
            <p:cNvPr id="3" name="object 3"/>
            <p:cNvPicPr/>
            <p:nvPr/>
          </p:nvPicPr>
          <p:blipFill>
            <a:blip r:embed="rId2" cstate="print"/>
            <a:stretch>
              <a:fillRect/>
            </a:stretch>
          </p:blipFill>
          <p:spPr>
            <a:xfrm>
              <a:off x="377951" y="1603247"/>
              <a:ext cx="5317236" cy="3544824"/>
            </a:xfrm>
            <a:prstGeom prst="rect">
              <a:avLst/>
            </a:prstGeom>
          </p:spPr>
        </p:pic>
        <p:pic>
          <p:nvPicPr>
            <p:cNvPr id="4" name="object 4"/>
            <p:cNvPicPr/>
            <p:nvPr/>
          </p:nvPicPr>
          <p:blipFill>
            <a:blip r:embed="rId3" cstate="print"/>
            <a:stretch>
              <a:fillRect/>
            </a:stretch>
          </p:blipFill>
          <p:spPr>
            <a:xfrm>
              <a:off x="428586" y="1256030"/>
              <a:ext cx="5090325" cy="4021835"/>
            </a:xfrm>
            <a:prstGeom prst="rect">
              <a:avLst/>
            </a:prstGeom>
          </p:spPr>
        </p:pic>
        <p:pic>
          <p:nvPicPr>
            <p:cNvPr id="5" name="object 5"/>
            <p:cNvPicPr/>
            <p:nvPr/>
          </p:nvPicPr>
          <p:blipFill>
            <a:blip r:embed="rId4" cstate="print"/>
            <a:stretch>
              <a:fillRect/>
            </a:stretch>
          </p:blipFill>
          <p:spPr>
            <a:xfrm>
              <a:off x="815581" y="1874774"/>
              <a:ext cx="4730508" cy="3379469"/>
            </a:xfrm>
            <a:prstGeom prst="rect">
              <a:avLst/>
            </a:prstGeom>
          </p:spPr>
        </p:pic>
        <p:pic>
          <p:nvPicPr>
            <p:cNvPr id="6" name="object 6"/>
            <p:cNvPicPr/>
            <p:nvPr/>
          </p:nvPicPr>
          <p:blipFill>
            <a:blip r:embed="rId5" cstate="print"/>
            <a:stretch>
              <a:fillRect/>
            </a:stretch>
          </p:blipFill>
          <p:spPr>
            <a:xfrm>
              <a:off x="1055115" y="1457832"/>
              <a:ext cx="4415282" cy="3946017"/>
            </a:xfrm>
            <a:prstGeom prst="rect">
              <a:avLst/>
            </a:prstGeom>
          </p:spPr>
        </p:pic>
        <p:pic>
          <p:nvPicPr>
            <p:cNvPr id="7" name="object 7"/>
            <p:cNvPicPr/>
            <p:nvPr/>
          </p:nvPicPr>
          <p:blipFill>
            <a:blip r:embed="rId6" cstate="print"/>
            <a:stretch>
              <a:fillRect/>
            </a:stretch>
          </p:blipFill>
          <p:spPr>
            <a:xfrm>
              <a:off x="428243" y="2336291"/>
              <a:ext cx="4988052" cy="2034539"/>
            </a:xfrm>
            <a:prstGeom prst="rect">
              <a:avLst/>
            </a:prstGeom>
          </p:spPr>
        </p:pic>
        <p:pic>
          <p:nvPicPr>
            <p:cNvPr id="8" name="object 8"/>
            <p:cNvPicPr/>
            <p:nvPr/>
          </p:nvPicPr>
          <p:blipFill>
            <a:blip r:embed="rId7" cstate="print"/>
            <a:stretch>
              <a:fillRect/>
            </a:stretch>
          </p:blipFill>
          <p:spPr>
            <a:xfrm>
              <a:off x="278841" y="1334134"/>
              <a:ext cx="5526620" cy="4485995"/>
            </a:xfrm>
            <a:prstGeom prst="rect">
              <a:avLst/>
            </a:prstGeom>
          </p:spPr>
        </p:pic>
        <p:pic>
          <p:nvPicPr>
            <p:cNvPr id="9" name="object 9"/>
            <p:cNvPicPr/>
            <p:nvPr/>
          </p:nvPicPr>
          <p:blipFill>
            <a:blip r:embed="rId8" cstate="print"/>
            <a:stretch>
              <a:fillRect/>
            </a:stretch>
          </p:blipFill>
          <p:spPr>
            <a:xfrm>
              <a:off x="421258" y="1179753"/>
              <a:ext cx="5459475" cy="4758435"/>
            </a:xfrm>
            <a:prstGeom prst="rect">
              <a:avLst/>
            </a:prstGeom>
          </p:spPr>
        </p:pic>
        <p:pic>
          <p:nvPicPr>
            <p:cNvPr id="10" name="object 10"/>
            <p:cNvPicPr/>
            <p:nvPr/>
          </p:nvPicPr>
          <p:blipFill>
            <a:blip r:embed="rId9" cstate="print"/>
            <a:stretch>
              <a:fillRect/>
            </a:stretch>
          </p:blipFill>
          <p:spPr>
            <a:xfrm>
              <a:off x="915924" y="1559051"/>
              <a:ext cx="4114800" cy="3589020"/>
            </a:xfrm>
            <a:prstGeom prst="rect">
              <a:avLst/>
            </a:prstGeom>
          </p:spPr>
        </p:pic>
      </p:grpSp>
      <p:sp>
        <p:nvSpPr>
          <p:cNvPr id="11" name="object 11"/>
          <p:cNvSpPr txBox="1">
            <a:spLocks noGrp="1"/>
          </p:cNvSpPr>
          <p:nvPr>
            <p:ph type="title"/>
          </p:nvPr>
        </p:nvSpPr>
        <p:spPr>
          <a:xfrm>
            <a:off x="1183030" y="394538"/>
            <a:ext cx="2642870" cy="697230"/>
          </a:xfrm>
          <a:prstGeom prst="rect">
            <a:avLst/>
          </a:prstGeom>
        </p:spPr>
        <p:txBody>
          <a:bodyPr vert="horz" wrap="square" lIns="0" tIns="13335" rIns="0" bIns="0" rtlCol="0">
            <a:spAutoFit/>
          </a:bodyPr>
          <a:lstStyle/>
          <a:p>
            <a:pPr marL="12700">
              <a:lnSpc>
                <a:spcPct val="100000"/>
              </a:lnSpc>
              <a:spcBef>
                <a:spcPts val="105"/>
              </a:spcBef>
            </a:pPr>
            <a:r>
              <a:rPr spc="65" dirty="0"/>
              <a:t>Supporters</a:t>
            </a:r>
          </a:p>
        </p:txBody>
      </p:sp>
      <p:sp>
        <p:nvSpPr>
          <p:cNvPr id="12" name="object 12"/>
          <p:cNvSpPr txBox="1"/>
          <p:nvPr/>
        </p:nvSpPr>
        <p:spPr>
          <a:xfrm>
            <a:off x="6456934" y="273176"/>
            <a:ext cx="4673600" cy="6385560"/>
          </a:xfrm>
          <a:prstGeom prst="rect">
            <a:avLst/>
          </a:prstGeom>
        </p:spPr>
        <p:txBody>
          <a:bodyPr vert="horz" wrap="square" lIns="0" tIns="12700" rIns="0" bIns="0" rtlCol="0">
            <a:spAutoFit/>
          </a:bodyPr>
          <a:lstStyle/>
          <a:p>
            <a:pPr marL="241300" marR="0" lvl="0" indent="-228600" defTabSz="914400" eaLnBrk="1" fontAlgn="auto" latinLnBrk="0" hangingPunct="1">
              <a:lnSpc>
                <a:spcPts val="1595"/>
              </a:lnSpc>
              <a:spcBef>
                <a:spcPts val="100"/>
              </a:spcBef>
              <a:spcAft>
                <a:spcPts val="0"/>
              </a:spcAft>
              <a:buClrTx/>
              <a:buSzTx/>
              <a:buFontTx/>
              <a:buChar char="•"/>
              <a:tabLst>
                <a:tab pos="241300" algn="l"/>
              </a:tabLst>
              <a:defRPr/>
            </a:pPr>
            <a:r>
              <a:rPr kumimoji="0" sz="1400" b="0" i="0" u="none" strike="noStrike" kern="0" cap="none" spc="-20" normalizeH="0" baseline="0" noProof="0" dirty="0">
                <a:ln>
                  <a:noFill/>
                </a:ln>
                <a:solidFill>
                  <a:srgbClr val="FFFFFF"/>
                </a:solidFill>
                <a:effectLst/>
                <a:uLnTx/>
                <a:uFillTx/>
                <a:latin typeface="Arial"/>
                <a:cs typeface="Arial"/>
              </a:rPr>
              <a:t>AABC</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20" normalizeH="0" baseline="0" noProof="0" dirty="0">
                <a:ln>
                  <a:noFill/>
                </a:ln>
                <a:solidFill>
                  <a:srgbClr val="FFFFFF"/>
                </a:solidFill>
                <a:effectLst/>
                <a:uLnTx/>
                <a:uFillTx/>
                <a:latin typeface="Arial"/>
                <a:cs typeface="Arial"/>
              </a:rPr>
              <a:t>ACOG</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10" normalizeH="0" baseline="0" noProof="0" dirty="0">
                <a:ln>
                  <a:noFill/>
                </a:ln>
                <a:solidFill>
                  <a:srgbClr val="FFFFFF"/>
                </a:solidFill>
                <a:effectLst/>
                <a:uLnTx/>
                <a:uFillTx/>
                <a:latin typeface="Arial"/>
                <a:cs typeface="Arial"/>
              </a:rPr>
              <a:t>AWHONN</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Aspen</a:t>
            </a:r>
            <a:r>
              <a:rPr kumimoji="0" sz="1400" b="0" i="0" u="none" strike="noStrike" kern="0" cap="none" spc="-4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Health</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Black</a:t>
            </a:r>
            <a:r>
              <a:rPr kumimoji="0" sz="1400" b="0" i="0" u="none" strike="noStrike" kern="0" cap="none" spc="-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Mamas</a:t>
            </a:r>
            <a:r>
              <a:rPr kumimoji="0" sz="1400" b="0" i="0" u="none" strike="noStrike" kern="0" cap="none" spc="-2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Matter</a:t>
            </a:r>
            <a:r>
              <a:rPr kumimoji="0" sz="1400" b="0" i="0" u="none" strike="noStrike" kern="0" cap="none" spc="-10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Alliance</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Blue</a:t>
            </a:r>
            <a:r>
              <a:rPr kumimoji="0" sz="1400" b="0" i="0" u="none" strike="noStrike" kern="0" cap="none" spc="-1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Cross</a:t>
            </a:r>
            <a:r>
              <a:rPr kumimoji="0" sz="1400" b="0" i="0" u="none" strike="noStrike" kern="0" cap="none" spc="-3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Blue</a:t>
            </a:r>
            <a:r>
              <a:rPr kumimoji="0" sz="1400" b="0" i="0" u="none" strike="noStrike" kern="0" cap="none" spc="-10" normalizeH="0" baseline="0" noProof="0" dirty="0">
                <a:ln>
                  <a:noFill/>
                </a:ln>
                <a:solidFill>
                  <a:srgbClr val="FFFFFF"/>
                </a:solidFill>
                <a:effectLst/>
                <a:uLnTx/>
                <a:uFillTx/>
                <a:latin typeface="Arial"/>
                <a:cs typeface="Arial"/>
              </a:rPr>
              <a:t> Shield</a:t>
            </a:r>
            <a:r>
              <a:rPr kumimoji="0" sz="1400" b="0" i="0" u="none" strike="noStrike" kern="0" cap="none" spc="-9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Association</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Blue</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Distinction</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20" normalizeH="0" baseline="0" noProof="0" dirty="0">
                <a:ln>
                  <a:noFill/>
                </a:ln>
                <a:solidFill>
                  <a:srgbClr val="FFFFFF"/>
                </a:solidFill>
                <a:effectLst/>
                <a:uLnTx/>
                <a:uFillTx/>
                <a:latin typeface="Arial"/>
                <a:cs typeface="Arial"/>
              </a:rPr>
              <a:t>CABC</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25" normalizeH="0" baseline="0" noProof="0" dirty="0">
                <a:ln>
                  <a:noFill/>
                </a:ln>
                <a:solidFill>
                  <a:srgbClr val="FFFFFF"/>
                </a:solidFill>
                <a:effectLst/>
                <a:uLnTx/>
                <a:uFillTx/>
                <a:latin typeface="Arial"/>
                <a:cs typeface="Arial"/>
              </a:rPr>
              <a:t>CDC</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Centers</a:t>
            </a:r>
            <a:r>
              <a:rPr kumimoji="0" sz="1400" b="0" i="0" u="none" strike="noStrike" kern="0" cap="none" spc="-4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for</a:t>
            </a:r>
            <a:r>
              <a:rPr kumimoji="0" sz="1400" b="0" i="0" u="none" strike="noStrike" kern="0" cap="none" spc="-4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Healthcare</a:t>
            </a:r>
            <a:r>
              <a:rPr kumimoji="0" sz="1400" b="0" i="0" u="none" strike="noStrike" kern="0" cap="none" spc="-5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Quality</a:t>
            </a:r>
            <a:r>
              <a:rPr kumimoji="0" sz="1400" b="0" i="0" u="none" strike="noStrike" kern="0" cap="none" spc="-4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amp;</a:t>
            </a:r>
            <a:r>
              <a:rPr kumimoji="0" sz="1400" b="0" i="0" u="none" strike="noStrike" kern="0" cap="none" spc="-2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Payment</a:t>
            </a:r>
            <a:r>
              <a:rPr kumimoji="0" sz="1400" b="0" i="0" u="none" strike="noStrike" kern="0" cap="none" spc="-1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Reform</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Century</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Foundation</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CMS</a:t>
            </a:r>
            <a:r>
              <a:rPr kumimoji="0" sz="1400" b="0" i="0" u="none" strike="noStrike" kern="0" cap="none" spc="-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a:t>
            </a:r>
            <a:r>
              <a:rPr kumimoji="0" sz="1400" b="0" i="0" u="none" strike="noStrike" kern="0" cap="none" spc="-5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Transforming</a:t>
            </a:r>
            <a:r>
              <a:rPr kumimoji="0" sz="1400" b="0" i="0" u="none" strike="noStrike" kern="0" cap="none" spc="-5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Maternal</a:t>
            </a:r>
            <a:r>
              <a:rPr kumimoji="0" sz="1400" b="0" i="0" u="none" strike="noStrike" kern="0" cap="none" spc="-5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Health</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TMaH)</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Commonwealth</a:t>
            </a:r>
            <a:r>
              <a:rPr kumimoji="0" sz="1400" b="0" i="0" u="none" strike="noStrike" kern="0" cap="none" spc="-90" normalizeH="0" baseline="0" noProof="0" dirty="0">
                <a:ln>
                  <a:noFill/>
                </a:ln>
                <a:solidFill>
                  <a:srgbClr val="FFFFFF"/>
                </a:solidFill>
                <a:effectLst/>
                <a:uLnTx/>
                <a:uFillTx/>
                <a:latin typeface="Arial"/>
                <a:cs typeface="Arial"/>
              </a:rPr>
              <a:t> </a:t>
            </a:r>
            <a:r>
              <a:rPr kumimoji="0" sz="1400" b="0" i="0" u="none" strike="noStrike" kern="0" cap="none" spc="-20" normalizeH="0" baseline="0" noProof="0" dirty="0">
                <a:ln>
                  <a:noFill/>
                </a:ln>
                <a:solidFill>
                  <a:srgbClr val="FFFFFF"/>
                </a:solidFill>
                <a:effectLst/>
                <a:uLnTx/>
                <a:uFillTx/>
                <a:latin typeface="Arial"/>
                <a:cs typeface="Arial"/>
              </a:rPr>
              <a:t>Fund</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Every</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Mother</a:t>
            </a:r>
            <a:r>
              <a:rPr kumimoji="0" sz="1400" b="0" i="0" u="none" strike="noStrike" kern="0" cap="none" spc="-5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Counts</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Families</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25" normalizeH="0" baseline="0" noProof="0" dirty="0">
                <a:ln>
                  <a:noFill/>
                </a:ln>
                <a:solidFill>
                  <a:srgbClr val="FFFFFF"/>
                </a:solidFill>
                <a:effectLst/>
                <a:uLnTx/>
                <a:uFillTx/>
                <a:latin typeface="Arial"/>
                <a:cs typeface="Arial"/>
              </a:rPr>
              <a:t>USA</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Foundation</a:t>
            </a:r>
            <a:r>
              <a:rPr kumimoji="0" sz="1400" b="0" i="0" u="none" strike="noStrike" kern="0" cap="none" spc="-6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for</a:t>
            </a:r>
            <a:r>
              <a:rPr kumimoji="0" sz="1400" b="0" i="0" u="none" strike="noStrike" kern="0" cap="none" spc="-5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Healthcare</a:t>
            </a:r>
            <a:r>
              <a:rPr kumimoji="0" sz="1400" b="0" i="0" u="none" strike="noStrike" kern="0" cap="none" spc="-6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Quality</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Health</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Care</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Cost</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Institute</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20" normalizeH="0" baseline="0" noProof="0" dirty="0">
                <a:ln>
                  <a:noFill/>
                </a:ln>
                <a:solidFill>
                  <a:srgbClr val="FFFFFF"/>
                </a:solidFill>
                <a:effectLst/>
                <a:uLnTx/>
                <a:uFillTx/>
                <a:latin typeface="Arial"/>
                <a:cs typeface="Arial"/>
              </a:rPr>
              <a:t>HRSA</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March</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of</a:t>
            </a:r>
            <a:r>
              <a:rPr kumimoji="0" sz="1400" b="0" i="0" u="none" strike="noStrike" kern="0" cap="none" spc="-2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Dimes</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March</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for</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20" normalizeH="0" baseline="0" noProof="0" dirty="0">
                <a:ln>
                  <a:noFill/>
                </a:ln>
                <a:solidFill>
                  <a:srgbClr val="FFFFFF"/>
                </a:solidFill>
                <a:effectLst/>
                <a:uLnTx/>
                <a:uFillTx/>
                <a:latin typeface="Arial"/>
                <a:cs typeface="Arial"/>
              </a:rPr>
              <a:t>Moms</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Maternal</a:t>
            </a:r>
            <a:r>
              <a:rPr kumimoji="0" sz="1400" b="0" i="0" u="none" strike="noStrike" kern="0" cap="none" spc="-7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Health</a:t>
            </a:r>
            <a:r>
              <a:rPr kumimoji="0" sz="1400" b="0" i="0" u="none" strike="noStrike" kern="0" cap="none" spc="-60" normalizeH="0" baseline="0" noProof="0" dirty="0">
                <a:ln>
                  <a:noFill/>
                </a:ln>
                <a:solidFill>
                  <a:srgbClr val="FFFFFF"/>
                </a:solidFill>
                <a:effectLst/>
                <a:uLnTx/>
                <a:uFillTx/>
                <a:latin typeface="Arial"/>
                <a:cs typeface="Arial"/>
              </a:rPr>
              <a:t> </a:t>
            </a:r>
            <a:r>
              <a:rPr kumimoji="0" sz="1400" b="0" i="0" u="none" strike="noStrike" kern="0" cap="none" spc="-40" normalizeH="0" baseline="0" noProof="0" dirty="0">
                <a:ln>
                  <a:noFill/>
                </a:ln>
                <a:solidFill>
                  <a:srgbClr val="FFFFFF"/>
                </a:solidFill>
                <a:effectLst/>
                <a:uLnTx/>
                <a:uFillTx/>
                <a:latin typeface="Arial"/>
                <a:cs typeface="Arial"/>
              </a:rPr>
              <a:t>Task</a:t>
            </a:r>
            <a:r>
              <a:rPr kumimoji="0" sz="1400" b="0" i="0" u="none" strike="noStrike" kern="0" cap="none" spc="-4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Force</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Maternal</a:t>
            </a:r>
            <a:r>
              <a:rPr kumimoji="0" sz="1400" b="0" i="0" u="none" strike="noStrike" kern="0" cap="none" spc="-8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Mortality</a:t>
            </a:r>
            <a:r>
              <a:rPr kumimoji="0" sz="1400" b="0" i="0" u="none" strike="noStrike" kern="0" cap="none" spc="-7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Review</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Committees</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Medicaid</a:t>
            </a:r>
            <a:r>
              <a:rPr kumimoji="0" sz="1400" b="0" i="0" u="none" strike="noStrike" kern="0" cap="none" spc="-5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Programs</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10" normalizeH="0" baseline="0" noProof="0" dirty="0">
                <a:ln>
                  <a:noFill/>
                </a:ln>
                <a:solidFill>
                  <a:srgbClr val="FFFFFF"/>
                </a:solidFill>
                <a:effectLst/>
                <a:uLnTx/>
                <a:uFillTx/>
                <a:latin typeface="Arial"/>
                <a:cs typeface="Arial"/>
              </a:rPr>
              <a:t>Midwife</a:t>
            </a:r>
            <a:r>
              <a:rPr kumimoji="0" sz="1400" b="0" i="0" u="none" strike="noStrike" kern="0" cap="none" spc="-7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Associations:</a:t>
            </a:r>
            <a:r>
              <a:rPr kumimoji="0" sz="1400" b="0" i="0" u="none" strike="noStrike" kern="0" cap="none" spc="-10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ACNM,</a:t>
            </a:r>
            <a:r>
              <a:rPr kumimoji="0" sz="1400" b="0" i="0" u="none" strike="noStrike" kern="0" cap="none" spc="1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NACPM,</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20" normalizeH="0" baseline="0" noProof="0" dirty="0">
                <a:ln>
                  <a:noFill/>
                </a:ln>
                <a:solidFill>
                  <a:srgbClr val="FFFFFF"/>
                </a:solidFill>
                <a:effectLst/>
                <a:uLnTx/>
                <a:uFillTx/>
                <a:latin typeface="Arial"/>
                <a:cs typeface="Arial"/>
              </a:rPr>
              <a:t>NARM</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10" normalizeH="0" baseline="0" noProof="0" dirty="0">
                <a:ln>
                  <a:noFill/>
                </a:ln>
                <a:solidFill>
                  <a:srgbClr val="FFFFFF"/>
                </a:solidFill>
                <a:effectLst/>
                <a:uLnTx/>
                <a:uFillTx/>
                <a:latin typeface="Arial"/>
                <a:cs typeface="Arial"/>
              </a:rPr>
              <a:t>National</a:t>
            </a:r>
            <a:r>
              <a:rPr kumimoji="0" sz="1400" b="0" i="0" u="none" strike="noStrike" kern="0" cap="none" spc="-10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Academy</a:t>
            </a:r>
            <a:r>
              <a:rPr kumimoji="0" sz="1400" b="0" i="0" u="none" strike="noStrike" kern="0" cap="none" spc="-1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for</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State</a:t>
            </a:r>
            <a:r>
              <a:rPr kumimoji="0" sz="1400" b="0" i="0" u="none" strike="noStrike" kern="0" cap="none" spc="-1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Health</a:t>
            </a:r>
            <a:r>
              <a:rPr kumimoji="0" sz="1400" b="0" i="0" u="none" strike="noStrike" kern="0" cap="none" spc="-2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Policy</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National</a:t>
            </a:r>
            <a:r>
              <a:rPr kumimoji="0" sz="1400" b="0" i="0" u="none" strike="noStrike" kern="0" cap="none" spc="-5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Institute</a:t>
            </a:r>
            <a:r>
              <a:rPr kumimoji="0" sz="1400" b="0" i="0" u="none" strike="noStrike" kern="0" cap="none" spc="-5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of</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Child</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Health</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amp;</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Human</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Development</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National</a:t>
            </a:r>
            <a:r>
              <a:rPr kumimoji="0" sz="1400" b="0" i="0" u="none" strike="noStrike" kern="0" cap="none" spc="-4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Institute</a:t>
            </a:r>
            <a:r>
              <a:rPr kumimoji="0" sz="1400" b="0" i="0" u="none" strike="noStrike" kern="0" cap="none" spc="-6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of</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Health</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National</a:t>
            </a:r>
            <a:r>
              <a:rPr kumimoji="0" sz="1400" b="0" i="0" u="none" strike="noStrike" kern="0" cap="none" spc="-4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Partnership</a:t>
            </a:r>
            <a:r>
              <a:rPr kumimoji="0" sz="1400" b="0" i="0" u="none" strike="noStrike" kern="0" cap="none" spc="-7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for</a:t>
            </a:r>
            <a:r>
              <a:rPr kumimoji="0" sz="1400" b="0" i="0" u="none" strike="noStrike" kern="0" cap="none" spc="-3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Women</a:t>
            </a:r>
            <a:r>
              <a:rPr kumimoji="0" sz="1400" b="0" i="0" u="none" strike="noStrike" kern="0" cap="none" spc="-6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amp;</a:t>
            </a:r>
            <a:r>
              <a:rPr kumimoji="0" sz="1400" b="0" i="0" u="none" strike="noStrike" kern="0" cap="none" spc="-10" normalizeH="0" baseline="0" noProof="0" dirty="0">
                <a:ln>
                  <a:noFill/>
                </a:ln>
                <a:solidFill>
                  <a:srgbClr val="FFFFFF"/>
                </a:solidFill>
                <a:effectLst/>
                <a:uLnTx/>
                <a:uFillTx/>
                <a:latin typeface="Arial"/>
                <a:cs typeface="Arial"/>
              </a:rPr>
              <a:t> Families</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Regence</a:t>
            </a:r>
            <a:r>
              <a:rPr kumimoji="0" sz="1400" b="0" i="0" u="none" strike="noStrike" kern="0" cap="none" spc="-40" normalizeH="0" baseline="0" noProof="0" dirty="0">
                <a:ln>
                  <a:noFill/>
                </a:ln>
                <a:solidFill>
                  <a:srgbClr val="FFFFFF"/>
                </a:solidFill>
                <a:effectLst/>
                <a:uLnTx/>
                <a:uFillTx/>
                <a:latin typeface="Arial"/>
                <a:cs typeface="Arial"/>
              </a:rPr>
              <a:t> </a:t>
            </a:r>
            <a:r>
              <a:rPr kumimoji="0" sz="1400" b="0" i="0" u="none" strike="noStrike" kern="0" cap="none" spc="-25" normalizeH="0" baseline="0" noProof="0" dirty="0">
                <a:ln>
                  <a:noFill/>
                </a:ln>
                <a:solidFill>
                  <a:srgbClr val="FFFFFF"/>
                </a:solidFill>
                <a:effectLst/>
                <a:uLnTx/>
                <a:uFillTx/>
                <a:latin typeface="Arial"/>
                <a:cs typeface="Arial"/>
              </a:rPr>
              <a:t>(Value-</a:t>
            </a:r>
            <a:r>
              <a:rPr kumimoji="0" sz="1400" b="0" i="0" u="none" strike="noStrike" kern="0" cap="none" spc="0" normalizeH="0" baseline="0" noProof="0" dirty="0">
                <a:ln>
                  <a:noFill/>
                </a:ln>
                <a:solidFill>
                  <a:srgbClr val="FFFFFF"/>
                </a:solidFill>
                <a:effectLst/>
                <a:uLnTx/>
                <a:uFillTx/>
                <a:latin typeface="Arial"/>
                <a:cs typeface="Arial"/>
              </a:rPr>
              <a:t>based</a:t>
            </a:r>
            <a:r>
              <a:rPr kumimoji="0" sz="1400" b="0" i="0" u="none" strike="noStrike" kern="0" cap="none" spc="-5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Payments</a:t>
            </a:r>
            <a:r>
              <a:rPr kumimoji="0" sz="1400" b="0" i="0" u="none" strike="noStrike" kern="0" cap="none" spc="-2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for</a:t>
            </a:r>
            <a:r>
              <a:rPr kumimoji="0" sz="1400" b="0" i="0" u="none" strike="noStrike" kern="0" cap="none" spc="-2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Episodes</a:t>
            </a:r>
            <a:r>
              <a:rPr kumimoji="0" sz="1400" b="0" i="0" u="none" strike="noStrike" kern="0" cap="none" spc="-45"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of</a:t>
            </a:r>
            <a:r>
              <a:rPr kumimoji="0" sz="1400" b="0" i="0" u="none" strike="noStrike" kern="0" cap="none" spc="-10" normalizeH="0" baseline="0" noProof="0" dirty="0">
                <a:ln>
                  <a:noFill/>
                </a:ln>
                <a:solidFill>
                  <a:srgbClr val="FFFFFF"/>
                </a:solidFill>
                <a:effectLst/>
                <a:uLnTx/>
                <a:uFillTx/>
                <a:latin typeface="Arial"/>
                <a:cs typeface="Arial"/>
              </a:rPr>
              <a:t> Care)</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Surgeon</a:t>
            </a:r>
            <a:r>
              <a:rPr kumimoji="0" sz="1400" b="0" i="0" u="none" strike="noStrike" kern="0" cap="none" spc="-6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General</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5"/>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Strong</a:t>
            </a:r>
            <a:r>
              <a:rPr kumimoji="0" sz="1400" b="0" i="0" u="none" strike="noStrike" kern="0" cap="none" spc="-50" normalizeH="0" baseline="0" noProof="0" dirty="0">
                <a:ln>
                  <a:noFill/>
                </a:ln>
                <a:solidFill>
                  <a:srgbClr val="FFFFFF"/>
                </a:solidFill>
                <a:effectLst/>
                <a:uLnTx/>
                <a:uFillTx/>
                <a:latin typeface="Arial"/>
                <a:cs typeface="Arial"/>
              </a:rPr>
              <a:t> </a:t>
            </a:r>
            <a:r>
              <a:rPr kumimoji="0" sz="1400" b="0" i="0" u="none" strike="noStrike" kern="0" cap="none" spc="-10" normalizeH="0" baseline="0" noProof="0" dirty="0">
                <a:ln>
                  <a:noFill/>
                </a:ln>
                <a:solidFill>
                  <a:srgbClr val="FFFFFF"/>
                </a:solidFill>
                <a:effectLst/>
                <a:uLnTx/>
                <a:uFillTx/>
                <a:latin typeface="Arial"/>
                <a:cs typeface="Arial"/>
              </a:rPr>
              <a:t>Start</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10"/>
              </a:lnSpc>
              <a:spcBef>
                <a:spcPts val="0"/>
              </a:spcBef>
              <a:spcAft>
                <a:spcPts val="0"/>
              </a:spcAft>
              <a:buClrTx/>
              <a:buSzTx/>
              <a:buFontTx/>
              <a:buChar char="•"/>
              <a:tabLst>
                <a:tab pos="241300" algn="l"/>
              </a:tabLst>
              <a:defRPr/>
            </a:pPr>
            <a:r>
              <a:rPr kumimoji="0" sz="1400" b="0" i="0" u="none" strike="noStrike" kern="0" cap="none" spc="0" normalizeH="0" baseline="0" noProof="0" dirty="0">
                <a:ln>
                  <a:noFill/>
                </a:ln>
                <a:solidFill>
                  <a:srgbClr val="FFFFFF"/>
                </a:solidFill>
                <a:effectLst/>
                <a:uLnTx/>
                <a:uFillTx/>
                <a:latin typeface="Arial"/>
                <a:cs typeface="Arial"/>
              </a:rPr>
              <a:t>United</a:t>
            </a:r>
            <a:r>
              <a:rPr kumimoji="0" sz="1400" b="0" i="0" u="none" strike="noStrike" kern="0" cap="none" spc="-3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Nations</a:t>
            </a:r>
            <a:r>
              <a:rPr kumimoji="0" sz="1400" b="0" i="0" u="none" strike="noStrike" kern="0" cap="none" spc="-40" normalizeH="0" baseline="0" noProof="0" dirty="0">
                <a:ln>
                  <a:noFill/>
                </a:ln>
                <a:solidFill>
                  <a:srgbClr val="FFFFFF"/>
                </a:solidFill>
                <a:effectLst/>
                <a:uLnTx/>
                <a:uFillTx/>
                <a:latin typeface="Arial"/>
                <a:cs typeface="Arial"/>
              </a:rPr>
              <a:t> </a:t>
            </a:r>
            <a:r>
              <a:rPr kumimoji="0" sz="1400" b="0" i="0" u="none" strike="noStrike" kern="0" cap="none" spc="0" normalizeH="0" baseline="0" noProof="0" dirty="0">
                <a:ln>
                  <a:noFill/>
                </a:ln>
                <a:solidFill>
                  <a:srgbClr val="FFFFFF"/>
                </a:solidFill>
                <a:effectLst/>
                <a:uLnTx/>
                <a:uFillTx/>
                <a:latin typeface="Arial"/>
                <a:cs typeface="Arial"/>
              </a:rPr>
              <a:t>Populations</a:t>
            </a:r>
            <a:r>
              <a:rPr kumimoji="0" sz="1400" b="0" i="0" u="none" strike="noStrike" kern="0" cap="none" spc="-50" normalizeH="0" baseline="0" noProof="0" dirty="0">
                <a:ln>
                  <a:noFill/>
                </a:ln>
                <a:solidFill>
                  <a:srgbClr val="FFFFFF"/>
                </a:solidFill>
                <a:effectLst/>
                <a:uLnTx/>
                <a:uFillTx/>
                <a:latin typeface="Arial"/>
                <a:cs typeface="Arial"/>
              </a:rPr>
              <a:t> </a:t>
            </a:r>
            <a:r>
              <a:rPr kumimoji="0" sz="1400" b="0" i="0" u="none" strike="noStrike" kern="0" cap="none" spc="-20" normalizeH="0" baseline="0" noProof="0" dirty="0">
                <a:ln>
                  <a:noFill/>
                </a:ln>
                <a:solidFill>
                  <a:srgbClr val="FFFFFF"/>
                </a:solidFill>
                <a:effectLst/>
                <a:uLnTx/>
                <a:uFillTx/>
                <a:latin typeface="Arial"/>
                <a:cs typeface="Arial"/>
              </a:rPr>
              <a:t>Fund</a:t>
            </a:r>
            <a:endParaRPr kumimoji="0" sz="14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ts val="1595"/>
              </a:lnSpc>
              <a:spcBef>
                <a:spcPts val="0"/>
              </a:spcBef>
              <a:spcAft>
                <a:spcPts val="0"/>
              </a:spcAft>
              <a:buClrTx/>
              <a:buSzTx/>
              <a:buFontTx/>
              <a:buChar char="•"/>
              <a:tabLst>
                <a:tab pos="241300" algn="l"/>
              </a:tabLst>
              <a:defRPr/>
            </a:pPr>
            <a:r>
              <a:rPr kumimoji="0" sz="1400" b="0" i="0" u="none" strike="noStrike" kern="0" cap="none" spc="-25" normalizeH="0" baseline="0" noProof="0" dirty="0">
                <a:ln>
                  <a:noFill/>
                </a:ln>
                <a:solidFill>
                  <a:srgbClr val="FFFFFF"/>
                </a:solidFill>
                <a:effectLst/>
                <a:uLnTx/>
                <a:uFillTx/>
                <a:latin typeface="Arial"/>
                <a:cs typeface="Arial"/>
              </a:rPr>
              <a:t>WHO</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86182" rIns="0" bIns="0" rtlCol="0">
            <a:spAutoFit/>
          </a:bodyPr>
          <a:lstStyle/>
          <a:p>
            <a:pPr marL="114300">
              <a:lnSpc>
                <a:spcPct val="100000"/>
              </a:lnSpc>
              <a:spcBef>
                <a:spcPts val="105"/>
              </a:spcBef>
            </a:pPr>
            <a:r>
              <a:rPr spc="75" dirty="0"/>
              <a:t>Illinois</a:t>
            </a:r>
            <a:r>
              <a:rPr spc="-95" dirty="0"/>
              <a:t> </a:t>
            </a:r>
            <a:r>
              <a:rPr dirty="0"/>
              <a:t>Medicaid</a:t>
            </a:r>
            <a:r>
              <a:rPr spc="-105" dirty="0"/>
              <a:t> </a:t>
            </a:r>
            <a:r>
              <a:rPr spc="55" dirty="0"/>
              <a:t>Reimbursements</a:t>
            </a:r>
          </a:p>
        </p:txBody>
      </p:sp>
      <p:pic>
        <p:nvPicPr>
          <p:cNvPr id="3" name="object 3"/>
          <p:cNvPicPr/>
          <p:nvPr/>
        </p:nvPicPr>
        <p:blipFill>
          <a:blip r:embed="rId2" cstate="print"/>
          <a:stretch>
            <a:fillRect/>
          </a:stretch>
        </p:blipFill>
        <p:spPr>
          <a:xfrm>
            <a:off x="207263" y="1232916"/>
            <a:ext cx="2418588" cy="4175760"/>
          </a:xfrm>
          <a:prstGeom prst="rect">
            <a:avLst/>
          </a:prstGeom>
        </p:spPr>
      </p:pic>
      <p:sp>
        <p:nvSpPr>
          <p:cNvPr id="4" name="object 4"/>
          <p:cNvSpPr txBox="1"/>
          <p:nvPr/>
        </p:nvSpPr>
        <p:spPr>
          <a:xfrm>
            <a:off x="3020695" y="5218557"/>
            <a:ext cx="8935720" cy="2692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0" normalizeH="0" baseline="0" noProof="0" dirty="0">
                <a:ln>
                  <a:noFill/>
                </a:ln>
                <a:solidFill>
                  <a:srgbClr val="FFFFFF"/>
                </a:solidFill>
                <a:effectLst/>
                <a:uLnTx/>
                <a:uFillTx/>
                <a:latin typeface="Calibri"/>
                <a:cs typeface="Calibri"/>
              </a:rPr>
              <a:t>Other</a:t>
            </a:r>
            <a:r>
              <a:rPr kumimoji="0" sz="1600" b="0" i="0" u="none" strike="noStrike" kern="0" cap="none" spc="5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State</a:t>
            </a:r>
            <a:r>
              <a:rPr kumimoji="0" sz="1600" b="0" i="0" u="none" strike="noStrike" kern="0" cap="none" spc="40"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Medicaid’s</a:t>
            </a:r>
            <a:r>
              <a:rPr kumimoji="0" sz="1600" b="0" i="0" u="none" strike="noStrike" kern="0" cap="none" spc="1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traditional,</a:t>
            </a:r>
            <a:r>
              <a:rPr kumimoji="0" sz="1600" b="0" i="0" u="none" strike="noStrike" kern="0" cap="none" spc="55" normalizeH="0" baseline="0" noProof="0" dirty="0">
                <a:ln>
                  <a:noFill/>
                </a:ln>
                <a:solidFill>
                  <a:srgbClr val="FFFFFF"/>
                </a:solidFill>
                <a:effectLst/>
                <a:uLnTx/>
                <a:uFillTx/>
                <a:latin typeface="Calibri"/>
                <a:cs typeface="Calibri"/>
              </a:rPr>
              <a:t> </a:t>
            </a:r>
            <a:r>
              <a:rPr kumimoji="0" sz="1600" b="0" i="0" u="none" strike="noStrike" kern="0" cap="none" spc="-30" normalizeH="0" baseline="0" noProof="0" dirty="0">
                <a:ln>
                  <a:noFill/>
                </a:ln>
                <a:solidFill>
                  <a:srgbClr val="FFFFFF"/>
                </a:solidFill>
                <a:effectLst/>
                <a:uLnTx/>
                <a:uFillTx/>
                <a:latin typeface="Calibri"/>
                <a:cs typeface="Calibri"/>
              </a:rPr>
              <a:t>MCO,</a:t>
            </a:r>
            <a:r>
              <a:rPr kumimoji="0" sz="1600" b="0" i="0" u="none" strike="noStrike" kern="0" cap="none" spc="55" normalizeH="0" baseline="0" noProof="0" dirty="0">
                <a:ln>
                  <a:noFill/>
                </a:ln>
                <a:solidFill>
                  <a:srgbClr val="FFFFFF"/>
                </a:solidFill>
                <a:effectLst/>
                <a:uLnTx/>
                <a:uFillTx/>
                <a:latin typeface="Calibri"/>
                <a:cs typeface="Calibri"/>
              </a:rPr>
              <a:t> </a:t>
            </a:r>
            <a:r>
              <a:rPr kumimoji="0" sz="1600" b="0" i="0" u="none" strike="noStrike" kern="0" cap="none" spc="-125" normalizeH="0" baseline="0" noProof="0" dirty="0">
                <a:ln>
                  <a:noFill/>
                </a:ln>
                <a:solidFill>
                  <a:srgbClr val="FFFFFF"/>
                </a:solidFill>
                <a:effectLst/>
                <a:uLnTx/>
                <a:uFillTx/>
                <a:latin typeface="Calibri"/>
                <a:cs typeface="Calibri"/>
              </a:rPr>
              <a:t>&amp;</a:t>
            </a:r>
            <a:r>
              <a:rPr kumimoji="0" sz="1600" b="0" i="0" u="none" strike="noStrike" kern="0" cap="none" spc="4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CCO)</a:t>
            </a:r>
            <a:r>
              <a:rPr kumimoji="0" sz="1600" b="0" i="0" u="none" strike="noStrike" kern="0" cap="none" spc="60"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reimbursing</a:t>
            </a:r>
            <a:r>
              <a:rPr kumimoji="0" sz="1600" b="0" i="0" u="none" strike="noStrike" kern="0" cap="none" spc="4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Birth</a:t>
            </a:r>
            <a:r>
              <a:rPr kumimoji="0" sz="1600" b="0" i="0" u="none" strike="noStrike" kern="0" cap="none" spc="3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Centers</a:t>
            </a:r>
            <a:r>
              <a:rPr kumimoji="0" sz="1600" b="0" i="0" u="none" strike="noStrike" kern="0" cap="none" spc="3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at</a:t>
            </a:r>
            <a:r>
              <a:rPr kumimoji="0" sz="1600" b="0" i="0" u="none" strike="noStrike" kern="0" cap="none" spc="40"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the</a:t>
            </a:r>
            <a:r>
              <a:rPr kumimoji="0" sz="1600" b="0" i="0" u="none" strike="noStrike" kern="0" cap="none" spc="50"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same</a:t>
            </a:r>
            <a:r>
              <a:rPr kumimoji="0" sz="1600" b="0" i="0" u="none" strike="noStrike" kern="0" cap="none" spc="5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rates</a:t>
            </a:r>
            <a:r>
              <a:rPr kumimoji="0" sz="1600" b="0" i="0" u="none" strike="noStrike" kern="0" cap="none" spc="45"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as</a:t>
            </a:r>
            <a:r>
              <a:rPr kumimoji="0" sz="1600" b="0" i="0" u="none" strike="noStrike" kern="0" cap="none" spc="65" normalizeH="0" baseline="0" noProof="0" dirty="0">
                <a:ln>
                  <a:noFill/>
                </a:ln>
                <a:solidFill>
                  <a:srgbClr val="FFFFFF"/>
                </a:solidFill>
                <a:effectLst/>
                <a:uLnTx/>
                <a:uFillTx/>
                <a:latin typeface="Calibri"/>
                <a:cs typeface="Calibri"/>
              </a:rPr>
              <a:t> </a:t>
            </a:r>
            <a:r>
              <a:rPr kumimoji="0" sz="1600" b="0" i="0" u="none" strike="noStrike" kern="0" cap="none" spc="-10" normalizeH="0" baseline="0" noProof="0" dirty="0">
                <a:ln>
                  <a:noFill/>
                </a:ln>
                <a:solidFill>
                  <a:srgbClr val="FFFFFF"/>
                </a:solidFill>
                <a:effectLst/>
                <a:uLnTx/>
                <a:uFillTx/>
                <a:latin typeface="Calibri"/>
                <a:cs typeface="Calibri"/>
              </a:rPr>
              <a:t>hospitals:</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
        <p:nvSpPr>
          <p:cNvPr id="5" name="object 5"/>
          <p:cNvSpPr txBox="1"/>
          <p:nvPr/>
        </p:nvSpPr>
        <p:spPr>
          <a:xfrm>
            <a:off x="3020695" y="5706567"/>
            <a:ext cx="1442720" cy="1000760"/>
          </a:xfrm>
          <a:prstGeom prst="rect">
            <a:avLst/>
          </a:prstGeom>
        </p:spPr>
        <p:txBody>
          <a:bodyPr vert="horz" wrap="square" lIns="0" tIns="12065" rIns="0" bIns="0" rtlCol="0">
            <a:spAutoFit/>
          </a:bodyPr>
          <a:lstStyle/>
          <a:p>
            <a:pPr marL="185420" marR="0" lvl="0" indent="-172720" defTabSz="914400" eaLnBrk="1" fontAlgn="auto" latinLnBrk="0" hangingPunct="1">
              <a:lnSpc>
                <a:spcPct val="100000"/>
              </a:lnSpc>
              <a:spcBef>
                <a:spcPts val="95"/>
              </a:spcBef>
              <a:spcAft>
                <a:spcPts val="0"/>
              </a:spcAft>
              <a:buClrTx/>
              <a:buSzTx/>
              <a:buFont typeface="Arial"/>
              <a:buChar char="•"/>
              <a:tabLst>
                <a:tab pos="185420" algn="l"/>
              </a:tabLst>
              <a:defRPr/>
            </a:pPr>
            <a:r>
              <a:rPr kumimoji="0" sz="1600" b="0" i="0" u="none" strike="noStrike" kern="0" cap="none" spc="0" normalizeH="0" baseline="0" noProof="0" dirty="0">
                <a:ln>
                  <a:noFill/>
                </a:ln>
                <a:solidFill>
                  <a:srgbClr val="FFFFFF"/>
                </a:solidFill>
                <a:effectLst/>
                <a:uLnTx/>
                <a:uFillTx/>
                <a:latin typeface="Calibri"/>
                <a:cs typeface="Calibri"/>
              </a:rPr>
              <a:t>New</a:t>
            </a:r>
            <a:r>
              <a:rPr kumimoji="0" sz="1600" b="0" i="0" u="none" strike="noStrike" kern="0" cap="none" spc="-65" normalizeH="0" baseline="0" noProof="0" dirty="0">
                <a:ln>
                  <a:noFill/>
                </a:ln>
                <a:solidFill>
                  <a:srgbClr val="FFFFFF"/>
                </a:solidFill>
                <a:effectLst/>
                <a:uLnTx/>
                <a:uFillTx/>
                <a:latin typeface="Calibri"/>
                <a:cs typeface="Calibri"/>
              </a:rPr>
              <a:t> </a:t>
            </a:r>
            <a:r>
              <a:rPr kumimoji="0" sz="1600" b="0" i="0" u="none" strike="noStrike" kern="0" cap="none" spc="-20" normalizeH="0" baseline="0" noProof="0" dirty="0">
                <a:ln>
                  <a:noFill/>
                </a:ln>
                <a:solidFill>
                  <a:srgbClr val="FFFFFF"/>
                </a:solidFill>
                <a:effectLst/>
                <a:uLnTx/>
                <a:uFillTx/>
                <a:latin typeface="Calibri"/>
                <a:cs typeface="Calibri"/>
              </a:rPr>
              <a:t>York</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185420" marR="0" lvl="0" indent="-172720" defTabSz="914400" eaLnBrk="1" fontAlgn="auto" latinLnBrk="0" hangingPunct="1">
              <a:lnSpc>
                <a:spcPct val="100000"/>
              </a:lnSpc>
              <a:spcBef>
                <a:spcPts val="0"/>
              </a:spcBef>
              <a:spcAft>
                <a:spcPts val="0"/>
              </a:spcAft>
              <a:buClrTx/>
              <a:buSzTx/>
              <a:buFont typeface="Arial"/>
              <a:buChar char="•"/>
              <a:tabLst>
                <a:tab pos="185420" algn="l"/>
              </a:tabLst>
              <a:defRPr/>
            </a:pPr>
            <a:r>
              <a:rPr kumimoji="0" sz="1600" b="0" i="0" u="none" strike="noStrike" kern="0" cap="none" spc="0" normalizeH="0" baseline="0" noProof="0" dirty="0">
                <a:ln>
                  <a:noFill/>
                </a:ln>
                <a:solidFill>
                  <a:srgbClr val="FFFFFF"/>
                </a:solidFill>
                <a:effectLst/>
                <a:uLnTx/>
                <a:uFillTx/>
                <a:latin typeface="Calibri"/>
                <a:cs typeface="Calibri"/>
              </a:rPr>
              <a:t>New</a:t>
            </a:r>
            <a:r>
              <a:rPr kumimoji="0" sz="1600" b="0" i="0" u="none" strike="noStrike" kern="0" cap="none" spc="-65" normalizeH="0" baseline="0" noProof="0" dirty="0">
                <a:ln>
                  <a:noFill/>
                </a:ln>
                <a:solidFill>
                  <a:srgbClr val="FFFFFF"/>
                </a:solidFill>
                <a:effectLst/>
                <a:uLnTx/>
                <a:uFillTx/>
                <a:latin typeface="Calibri"/>
                <a:cs typeface="Calibri"/>
              </a:rPr>
              <a:t> </a:t>
            </a:r>
            <a:r>
              <a:rPr kumimoji="0" sz="1600" b="0" i="0" u="none" strike="noStrike" kern="0" cap="none" spc="-10" normalizeH="0" baseline="0" noProof="0" dirty="0">
                <a:ln>
                  <a:noFill/>
                </a:ln>
                <a:solidFill>
                  <a:srgbClr val="FFFFFF"/>
                </a:solidFill>
                <a:effectLst/>
                <a:uLnTx/>
                <a:uFillTx/>
                <a:latin typeface="Calibri"/>
                <a:cs typeface="Calibri"/>
              </a:rPr>
              <a:t>Jersey</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185420" marR="0" lvl="0" indent="-172720" defTabSz="914400" eaLnBrk="1" fontAlgn="auto" latinLnBrk="0" hangingPunct="1">
              <a:lnSpc>
                <a:spcPct val="100000"/>
              </a:lnSpc>
              <a:spcBef>
                <a:spcPts val="0"/>
              </a:spcBef>
              <a:spcAft>
                <a:spcPts val="0"/>
              </a:spcAft>
              <a:buClrTx/>
              <a:buSzTx/>
              <a:buFont typeface="Arial"/>
              <a:buChar char="•"/>
              <a:tabLst>
                <a:tab pos="185420" algn="l"/>
              </a:tabLst>
              <a:defRPr/>
            </a:pPr>
            <a:r>
              <a:rPr kumimoji="0" sz="1600" b="0" i="0" u="none" strike="noStrike" kern="0" cap="none" spc="-10" normalizeH="0" baseline="0" noProof="0" dirty="0">
                <a:ln>
                  <a:noFill/>
                </a:ln>
                <a:solidFill>
                  <a:srgbClr val="FFFFFF"/>
                </a:solidFill>
                <a:effectLst/>
                <a:uLnTx/>
                <a:uFillTx/>
                <a:latin typeface="Calibri"/>
                <a:cs typeface="Calibri"/>
              </a:rPr>
              <a:t>Oregon</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185420" marR="0" lvl="0" indent="-172720" defTabSz="914400" eaLnBrk="1" fontAlgn="auto" latinLnBrk="0" hangingPunct="1">
              <a:lnSpc>
                <a:spcPct val="100000"/>
              </a:lnSpc>
              <a:spcBef>
                <a:spcPts val="0"/>
              </a:spcBef>
              <a:spcAft>
                <a:spcPts val="0"/>
              </a:spcAft>
              <a:buClrTx/>
              <a:buSzTx/>
              <a:buFont typeface="Arial"/>
              <a:buChar char="•"/>
              <a:tabLst>
                <a:tab pos="185420" algn="l"/>
              </a:tabLst>
              <a:defRPr/>
            </a:pPr>
            <a:r>
              <a:rPr kumimoji="0" sz="1600" b="0" i="0" u="none" strike="noStrike" kern="0" cap="none" spc="0" normalizeH="0" baseline="0" noProof="0" dirty="0">
                <a:ln>
                  <a:noFill/>
                </a:ln>
                <a:solidFill>
                  <a:srgbClr val="FFFFFF"/>
                </a:solidFill>
                <a:effectLst/>
                <a:uLnTx/>
                <a:uFillTx/>
                <a:latin typeface="Calibri"/>
                <a:cs typeface="Calibri"/>
              </a:rPr>
              <a:t>North</a:t>
            </a:r>
            <a:r>
              <a:rPr kumimoji="0" sz="1600" b="0" i="0" u="none" strike="noStrike" kern="0" cap="none" spc="-35" normalizeH="0" baseline="0" noProof="0" dirty="0">
                <a:ln>
                  <a:noFill/>
                </a:ln>
                <a:solidFill>
                  <a:srgbClr val="FFFFFF"/>
                </a:solidFill>
                <a:effectLst/>
                <a:uLnTx/>
                <a:uFillTx/>
                <a:latin typeface="Calibri"/>
                <a:cs typeface="Calibri"/>
              </a:rPr>
              <a:t> </a:t>
            </a:r>
            <a:r>
              <a:rPr kumimoji="0" sz="1600" b="0" i="0" u="none" strike="noStrike" kern="0" cap="none" spc="-10" normalizeH="0" baseline="0" noProof="0" dirty="0">
                <a:ln>
                  <a:noFill/>
                </a:ln>
                <a:solidFill>
                  <a:srgbClr val="FFFFFF"/>
                </a:solidFill>
                <a:effectLst/>
                <a:uLnTx/>
                <a:uFillTx/>
                <a:latin typeface="Calibri"/>
                <a:cs typeface="Calibri"/>
              </a:rPr>
              <a:t>Carolina</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
        <p:nvSpPr>
          <p:cNvPr id="6" name="object 6"/>
          <p:cNvSpPr txBox="1"/>
          <p:nvPr/>
        </p:nvSpPr>
        <p:spPr>
          <a:xfrm>
            <a:off x="4870450" y="5711138"/>
            <a:ext cx="2255520" cy="756920"/>
          </a:xfrm>
          <a:prstGeom prst="rect">
            <a:avLst/>
          </a:prstGeom>
        </p:spPr>
        <p:txBody>
          <a:bodyPr vert="horz" wrap="square" lIns="0" tIns="12065" rIns="0" bIns="0" rtlCol="0">
            <a:spAutoFit/>
          </a:bodyPr>
          <a:lstStyle/>
          <a:p>
            <a:pPr marL="185420" marR="0" lvl="0" indent="-172720" defTabSz="914400" eaLnBrk="1" fontAlgn="auto" latinLnBrk="0" hangingPunct="1">
              <a:lnSpc>
                <a:spcPct val="100000"/>
              </a:lnSpc>
              <a:spcBef>
                <a:spcPts val="95"/>
              </a:spcBef>
              <a:spcAft>
                <a:spcPts val="0"/>
              </a:spcAft>
              <a:buClrTx/>
              <a:buSzTx/>
              <a:buFont typeface="Arial"/>
              <a:buChar char="•"/>
              <a:tabLst>
                <a:tab pos="185420" algn="l"/>
              </a:tabLst>
              <a:defRPr/>
            </a:pPr>
            <a:r>
              <a:rPr kumimoji="0" sz="1600" b="0" i="0" u="none" strike="noStrike" kern="0" cap="none" spc="-20" normalizeH="0" baseline="0" noProof="0" dirty="0">
                <a:ln>
                  <a:noFill/>
                </a:ln>
                <a:solidFill>
                  <a:srgbClr val="FFFFFF"/>
                </a:solidFill>
                <a:effectLst/>
                <a:uLnTx/>
                <a:uFillTx/>
                <a:latin typeface="Calibri"/>
                <a:cs typeface="Calibri"/>
              </a:rPr>
              <a:t>Ohio</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185420" marR="0" lvl="0" indent="-172720" defTabSz="914400" eaLnBrk="1" fontAlgn="auto" latinLnBrk="0" hangingPunct="1">
              <a:lnSpc>
                <a:spcPct val="100000"/>
              </a:lnSpc>
              <a:spcBef>
                <a:spcPts val="0"/>
              </a:spcBef>
              <a:spcAft>
                <a:spcPts val="0"/>
              </a:spcAft>
              <a:buClrTx/>
              <a:buSzTx/>
              <a:buFont typeface="Arial"/>
              <a:buChar char="•"/>
              <a:tabLst>
                <a:tab pos="185420" algn="l"/>
              </a:tabLst>
              <a:defRPr/>
            </a:pPr>
            <a:r>
              <a:rPr kumimoji="0" sz="1600" b="0" i="0" u="none" strike="noStrike" kern="0" cap="none" spc="0" normalizeH="0" baseline="0" noProof="0" dirty="0">
                <a:ln>
                  <a:noFill/>
                </a:ln>
                <a:solidFill>
                  <a:srgbClr val="FFFFFF"/>
                </a:solidFill>
                <a:effectLst/>
                <a:uLnTx/>
                <a:uFillTx/>
                <a:latin typeface="Calibri"/>
                <a:cs typeface="Calibri"/>
              </a:rPr>
              <a:t>Washington</a:t>
            </a:r>
            <a:r>
              <a:rPr kumimoji="0" sz="1600" b="0" i="0" u="none" strike="noStrike" kern="0" cap="none" spc="130" normalizeH="0" baseline="0" noProof="0" dirty="0">
                <a:ln>
                  <a:noFill/>
                </a:ln>
                <a:solidFill>
                  <a:srgbClr val="FFFFFF"/>
                </a:solidFill>
                <a:effectLst/>
                <a:uLnTx/>
                <a:uFillTx/>
                <a:latin typeface="Calibri"/>
                <a:cs typeface="Calibri"/>
              </a:rPr>
              <a:t> </a:t>
            </a:r>
            <a:r>
              <a:rPr kumimoji="0" sz="1600" b="0" i="0" u="none" strike="noStrike" kern="0" cap="none" spc="0" normalizeH="0" baseline="0" noProof="0" dirty="0">
                <a:ln>
                  <a:noFill/>
                </a:ln>
                <a:solidFill>
                  <a:srgbClr val="FFFFFF"/>
                </a:solidFill>
                <a:effectLst/>
                <a:uLnTx/>
                <a:uFillTx/>
                <a:latin typeface="Calibri"/>
                <a:cs typeface="Calibri"/>
              </a:rPr>
              <a:t>(in-</a:t>
            </a:r>
            <a:r>
              <a:rPr kumimoji="0" sz="1600" b="0" i="0" u="none" strike="noStrike" kern="0" cap="none" spc="-10" normalizeH="0" baseline="0" noProof="0" dirty="0">
                <a:ln>
                  <a:noFill/>
                </a:ln>
                <a:solidFill>
                  <a:srgbClr val="FFFFFF"/>
                </a:solidFill>
                <a:effectLst/>
                <a:uLnTx/>
                <a:uFillTx/>
                <a:latin typeface="Calibri"/>
                <a:cs typeface="Calibri"/>
              </a:rPr>
              <a:t>process)</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185420" marR="0" lvl="0" indent="-172720" defTabSz="914400" eaLnBrk="1" fontAlgn="auto" latinLnBrk="0" hangingPunct="1">
              <a:lnSpc>
                <a:spcPct val="100000"/>
              </a:lnSpc>
              <a:spcBef>
                <a:spcPts val="0"/>
              </a:spcBef>
              <a:spcAft>
                <a:spcPts val="0"/>
              </a:spcAft>
              <a:buClrTx/>
              <a:buSzTx/>
              <a:buFont typeface="Arial"/>
              <a:buChar char="•"/>
              <a:tabLst>
                <a:tab pos="185420" algn="l"/>
              </a:tabLst>
              <a:defRPr/>
            </a:pPr>
            <a:r>
              <a:rPr kumimoji="0" sz="1600" b="0" i="0" u="none" strike="noStrike" kern="0" cap="none" spc="0" normalizeH="0" baseline="0" noProof="0" dirty="0">
                <a:ln>
                  <a:noFill/>
                </a:ln>
                <a:solidFill>
                  <a:srgbClr val="FFFFFF"/>
                </a:solidFill>
                <a:effectLst/>
                <a:uLnTx/>
                <a:uFillTx/>
                <a:latin typeface="Calibri"/>
                <a:cs typeface="Calibri"/>
              </a:rPr>
              <a:t>Texas</a:t>
            </a:r>
            <a:r>
              <a:rPr kumimoji="0" sz="1600" b="0" i="0" u="none" strike="noStrike" kern="0" cap="none" spc="140" normalizeH="0" baseline="0" noProof="0" dirty="0">
                <a:ln>
                  <a:noFill/>
                </a:ln>
                <a:solidFill>
                  <a:srgbClr val="FFFFFF"/>
                </a:solidFill>
                <a:effectLst/>
                <a:uLnTx/>
                <a:uFillTx/>
                <a:latin typeface="Calibri"/>
                <a:cs typeface="Calibri"/>
              </a:rPr>
              <a:t> </a:t>
            </a:r>
            <a:r>
              <a:rPr kumimoji="0" sz="1600" b="0" i="0" u="none" strike="noStrike" kern="0" cap="none" spc="-10" normalizeH="0" baseline="0" noProof="0" dirty="0">
                <a:ln>
                  <a:noFill/>
                </a:ln>
                <a:solidFill>
                  <a:srgbClr val="FFFFFF"/>
                </a:solidFill>
                <a:effectLst/>
                <a:uLnTx/>
                <a:uFillTx/>
                <a:latin typeface="Calibri"/>
                <a:cs typeface="Calibri"/>
              </a:rPr>
              <a:t>(proposed)</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txBox="1"/>
          <p:nvPr/>
        </p:nvSpPr>
        <p:spPr>
          <a:xfrm>
            <a:off x="10201402" y="6513982"/>
            <a:ext cx="1911350" cy="18669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050" b="0" i="1" u="none" strike="noStrike" kern="0" cap="none" spc="0" normalizeH="0" baseline="0" noProof="0" dirty="0">
                <a:ln>
                  <a:noFill/>
                </a:ln>
                <a:solidFill>
                  <a:srgbClr val="FFFFFF"/>
                </a:solidFill>
                <a:effectLst/>
                <a:uLnTx/>
                <a:uFillTx/>
                <a:latin typeface="Calibri"/>
                <a:cs typeface="Calibri"/>
              </a:rPr>
              <a:t>(source:</a:t>
            </a:r>
            <a:r>
              <a:rPr kumimoji="0" sz="1050" b="0" i="1" u="none" strike="noStrike" kern="0" cap="none" spc="-20" normalizeH="0" baseline="0" noProof="0" dirty="0">
                <a:ln>
                  <a:noFill/>
                </a:ln>
                <a:solidFill>
                  <a:srgbClr val="FFFFFF"/>
                </a:solidFill>
                <a:effectLst/>
                <a:uLnTx/>
                <a:uFillTx/>
                <a:latin typeface="Calibri"/>
                <a:cs typeface="Calibri"/>
              </a:rPr>
              <a:t> </a:t>
            </a:r>
            <a:r>
              <a:rPr kumimoji="0" sz="1050" b="0" i="1" u="none" strike="noStrike" kern="0" cap="none" spc="0" normalizeH="0" baseline="0" noProof="0" dirty="0">
                <a:ln>
                  <a:noFill/>
                </a:ln>
                <a:solidFill>
                  <a:srgbClr val="FFFFFF"/>
                </a:solidFill>
                <a:effectLst/>
                <a:uLnTx/>
                <a:uFillTx/>
                <a:latin typeface="Calibri"/>
                <a:cs typeface="Calibri"/>
              </a:rPr>
              <a:t>IDHFS</a:t>
            </a:r>
            <a:r>
              <a:rPr kumimoji="0" sz="1050" b="0" i="1" u="none" strike="noStrike" kern="0" cap="none" spc="-30" normalizeH="0" baseline="0" noProof="0" dirty="0">
                <a:ln>
                  <a:noFill/>
                </a:ln>
                <a:solidFill>
                  <a:srgbClr val="FFFFFF"/>
                </a:solidFill>
                <a:effectLst/>
                <a:uLnTx/>
                <a:uFillTx/>
                <a:latin typeface="Calibri"/>
                <a:cs typeface="Calibri"/>
              </a:rPr>
              <a:t> </a:t>
            </a:r>
            <a:r>
              <a:rPr kumimoji="0" sz="1050" b="0" i="1" u="none" strike="noStrike" kern="0" cap="none" spc="-105" normalizeH="0" baseline="0" noProof="0" dirty="0">
                <a:ln>
                  <a:noFill/>
                </a:ln>
                <a:solidFill>
                  <a:srgbClr val="FFFFFF"/>
                </a:solidFill>
                <a:effectLst/>
                <a:uLnTx/>
                <a:uFillTx/>
                <a:latin typeface="Calibri"/>
                <a:cs typeface="Calibri"/>
              </a:rPr>
              <a:t>&amp;</a:t>
            </a:r>
            <a:r>
              <a:rPr kumimoji="0" sz="1050" b="0" i="1" u="none" strike="noStrike" kern="0" cap="none" spc="0" normalizeH="0" baseline="0" noProof="0" dirty="0">
                <a:ln>
                  <a:noFill/>
                </a:ln>
                <a:solidFill>
                  <a:srgbClr val="FFFFFF"/>
                </a:solidFill>
                <a:effectLst/>
                <a:uLnTx/>
                <a:uFillTx/>
                <a:latin typeface="Calibri"/>
                <a:cs typeface="Calibri"/>
              </a:rPr>
              <a:t> Turquoise</a:t>
            </a:r>
            <a:r>
              <a:rPr kumimoji="0" sz="1050" b="0" i="1" u="none" strike="noStrike" kern="0" cap="none" spc="-25" normalizeH="0" baseline="0" noProof="0" dirty="0">
                <a:ln>
                  <a:noFill/>
                </a:ln>
                <a:solidFill>
                  <a:srgbClr val="FFFFFF"/>
                </a:solidFill>
                <a:effectLst/>
                <a:uLnTx/>
                <a:uFillTx/>
                <a:latin typeface="Calibri"/>
                <a:cs typeface="Calibri"/>
              </a:rPr>
              <a:t> </a:t>
            </a:r>
            <a:r>
              <a:rPr kumimoji="0" sz="1050" b="0" i="1" u="none" strike="noStrike" kern="0" cap="none" spc="-10" normalizeH="0" baseline="0" noProof="0" dirty="0">
                <a:ln>
                  <a:noFill/>
                </a:ln>
                <a:solidFill>
                  <a:srgbClr val="FFFFFF"/>
                </a:solidFill>
                <a:effectLst/>
                <a:uLnTx/>
                <a:uFillTx/>
                <a:latin typeface="Calibri"/>
                <a:cs typeface="Calibri"/>
              </a:rPr>
              <a:t>Health)</a:t>
            </a:r>
            <a:endParaRPr kumimoji="0" sz="1050" b="0" i="0" u="none" strike="noStrike" kern="0" cap="none" spc="0" normalizeH="0" baseline="0" noProof="0">
              <a:ln>
                <a:noFill/>
              </a:ln>
              <a:solidFill>
                <a:sysClr val="windowText" lastClr="000000"/>
              </a:solidFill>
              <a:effectLst/>
              <a:uLnTx/>
              <a:uFillTx/>
              <a:latin typeface="Calibri"/>
              <a:cs typeface="Calibri"/>
            </a:endParaRPr>
          </a:p>
        </p:txBody>
      </p:sp>
      <p:grpSp>
        <p:nvGrpSpPr>
          <p:cNvPr id="8" name="object 8"/>
          <p:cNvGrpSpPr/>
          <p:nvPr/>
        </p:nvGrpSpPr>
        <p:grpSpPr>
          <a:xfrm>
            <a:off x="2941320" y="1304544"/>
            <a:ext cx="9092565" cy="3817620"/>
            <a:chOff x="2941320" y="1304544"/>
            <a:chExt cx="9092565" cy="3817620"/>
          </a:xfrm>
        </p:grpSpPr>
        <p:pic>
          <p:nvPicPr>
            <p:cNvPr id="9" name="object 9"/>
            <p:cNvPicPr/>
            <p:nvPr/>
          </p:nvPicPr>
          <p:blipFill>
            <a:blip r:embed="rId3" cstate="print"/>
            <a:stretch>
              <a:fillRect/>
            </a:stretch>
          </p:blipFill>
          <p:spPr>
            <a:xfrm>
              <a:off x="2941320" y="1304544"/>
              <a:ext cx="9092184" cy="3817620"/>
            </a:xfrm>
            <a:prstGeom prst="rect">
              <a:avLst/>
            </a:prstGeom>
          </p:spPr>
        </p:pic>
        <p:sp>
          <p:nvSpPr>
            <p:cNvPr id="10" name="object 10"/>
            <p:cNvSpPr/>
            <p:nvPr/>
          </p:nvSpPr>
          <p:spPr>
            <a:xfrm>
              <a:off x="10369296" y="3483864"/>
              <a:ext cx="1615440" cy="1550035"/>
            </a:xfrm>
            <a:custGeom>
              <a:avLst/>
              <a:gdLst/>
              <a:ahLst/>
              <a:cxnLst/>
              <a:rect l="l" t="t" r="r" b="b"/>
              <a:pathLst>
                <a:path w="1615440" h="1550035">
                  <a:moveTo>
                    <a:pt x="807720" y="0"/>
                  </a:moveTo>
                  <a:lnTo>
                    <a:pt x="758509" y="1414"/>
                  </a:lnTo>
                  <a:lnTo>
                    <a:pt x="710080" y="5603"/>
                  </a:lnTo>
                  <a:lnTo>
                    <a:pt x="662515" y="12485"/>
                  </a:lnTo>
                  <a:lnTo>
                    <a:pt x="615900" y="21980"/>
                  </a:lnTo>
                  <a:lnTo>
                    <a:pt x="570319" y="34007"/>
                  </a:lnTo>
                  <a:lnTo>
                    <a:pt x="525856" y="48483"/>
                  </a:lnTo>
                  <a:lnTo>
                    <a:pt x="482596" y="65329"/>
                  </a:lnTo>
                  <a:lnTo>
                    <a:pt x="440623" y="84463"/>
                  </a:lnTo>
                  <a:lnTo>
                    <a:pt x="400021" y="105805"/>
                  </a:lnTo>
                  <a:lnTo>
                    <a:pt x="360876" y="129272"/>
                  </a:lnTo>
                  <a:lnTo>
                    <a:pt x="323271" y="154784"/>
                  </a:lnTo>
                  <a:lnTo>
                    <a:pt x="287291" y="182261"/>
                  </a:lnTo>
                  <a:lnTo>
                    <a:pt x="253021" y="211620"/>
                  </a:lnTo>
                  <a:lnTo>
                    <a:pt x="220544" y="242781"/>
                  </a:lnTo>
                  <a:lnTo>
                    <a:pt x="189946" y="275663"/>
                  </a:lnTo>
                  <a:lnTo>
                    <a:pt x="161310" y="310184"/>
                  </a:lnTo>
                  <a:lnTo>
                    <a:pt x="134721" y="346264"/>
                  </a:lnTo>
                  <a:lnTo>
                    <a:pt x="110264" y="383822"/>
                  </a:lnTo>
                  <a:lnTo>
                    <a:pt x="88022" y="422776"/>
                  </a:lnTo>
                  <a:lnTo>
                    <a:pt x="68082" y="463045"/>
                  </a:lnTo>
                  <a:lnTo>
                    <a:pt x="50526" y="504549"/>
                  </a:lnTo>
                  <a:lnTo>
                    <a:pt x="35439" y="547206"/>
                  </a:lnTo>
                  <a:lnTo>
                    <a:pt x="22906" y="590935"/>
                  </a:lnTo>
                  <a:lnTo>
                    <a:pt x="13011" y="635656"/>
                  </a:lnTo>
                  <a:lnTo>
                    <a:pt x="5839" y="681286"/>
                  </a:lnTo>
                  <a:lnTo>
                    <a:pt x="1473" y="727746"/>
                  </a:lnTo>
                  <a:lnTo>
                    <a:pt x="0" y="774954"/>
                  </a:lnTo>
                  <a:lnTo>
                    <a:pt x="1473" y="822161"/>
                  </a:lnTo>
                  <a:lnTo>
                    <a:pt x="5839" y="868621"/>
                  </a:lnTo>
                  <a:lnTo>
                    <a:pt x="13011" y="914251"/>
                  </a:lnTo>
                  <a:lnTo>
                    <a:pt x="22906" y="958972"/>
                  </a:lnTo>
                  <a:lnTo>
                    <a:pt x="35439" y="1002701"/>
                  </a:lnTo>
                  <a:lnTo>
                    <a:pt x="50526" y="1045358"/>
                  </a:lnTo>
                  <a:lnTo>
                    <a:pt x="68082" y="1086862"/>
                  </a:lnTo>
                  <a:lnTo>
                    <a:pt x="88022" y="1127131"/>
                  </a:lnTo>
                  <a:lnTo>
                    <a:pt x="110264" y="1166085"/>
                  </a:lnTo>
                  <a:lnTo>
                    <a:pt x="134721" y="1203643"/>
                  </a:lnTo>
                  <a:lnTo>
                    <a:pt x="161310" y="1239723"/>
                  </a:lnTo>
                  <a:lnTo>
                    <a:pt x="189946" y="1274244"/>
                  </a:lnTo>
                  <a:lnTo>
                    <a:pt x="220544" y="1307126"/>
                  </a:lnTo>
                  <a:lnTo>
                    <a:pt x="253021" y="1338287"/>
                  </a:lnTo>
                  <a:lnTo>
                    <a:pt x="287291" y="1367646"/>
                  </a:lnTo>
                  <a:lnTo>
                    <a:pt x="323271" y="1395123"/>
                  </a:lnTo>
                  <a:lnTo>
                    <a:pt x="360876" y="1420635"/>
                  </a:lnTo>
                  <a:lnTo>
                    <a:pt x="400021" y="1444102"/>
                  </a:lnTo>
                  <a:lnTo>
                    <a:pt x="440623" y="1465444"/>
                  </a:lnTo>
                  <a:lnTo>
                    <a:pt x="482596" y="1484578"/>
                  </a:lnTo>
                  <a:lnTo>
                    <a:pt x="525856" y="1501424"/>
                  </a:lnTo>
                  <a:lnTo>
                    <a:pt x="570319" y="1515900"/>
                  </a:lnTo>
                  <a:lnTo>
                    <a:pt x="615900" y="1527927"/>
                  </a:lnTo>
                  <a:lnTo>
                    <a:pt x="662515" y="1537422"/>
                  </a:lnTo>
                  <a:lnTo>
                    <a:pt x="710080" y="1544304"/>
                  </a:lnTo>
                  <a:lnTo>
                    <a:pt x="758509" y="1548493"/>
                  </a:lnTo>
                  <a:lnTo>
                    <a:pt x="807720" y="1549908"/>
                  </a:lnTo>
                  <a:lnTo>
                    <a:pt x="856930" y="1548493"/>
                  </a:lnTo>
                  <a:lnTo>
                    <a:pt x="905359" y="1544304"/>
                  </a:lnTo>
                  <a:lnTo>
                    <a:pt x="952924" y="1537422"/>
                  </a:lnTo>
                  <a:lnTo>
                    <a:pt x="999539" y="1527927"/>
                  </a:lnTo>
                  <a:lnTo>
                    <a:pt x="1045120" y="1515900"/>
                  </a:lnTo>
                  <a:lnTo>
                    <a:pt x="1089583" y="1501424"/>
                  </a:lnTo>
                  <a:lnTo>
                    <a:pt x="1132843" y="1484578"/>
                  </a:lnTo>
                  <a:lnTo>
                    <a:pt x="1174816" y="1465444"/>
                  </a:lnTo>
                  <a:lnTo>
                    <a:pt x="1215418" y="1444102"/>
                  </a:lnTo>
                  <a:lnTo>
                    <a:pt x="1254563" y="1420635"/>
                  </a:lnTo>
                  <a:lnTo>
                    <a:pt x="1292168" y="1395123"/>
                  </a:lnTo>
                  <a:lnTo>
                    <a:pt x="1328148" y="1367646"/>
                  </a:lnTo>
                  <a:lnTo>
                    <a:pt x="1362418" y="1338287"/>
                  </a:lnTo>
                  <a:lnTo>
                    <a:pt x="1394895" y="1307126"/>
                  </a:lnTo>
                  <a:lnTo>
                    <a:pt x="1425493" y="1274244"/>
                  </a:lnTo>
                  <a:lnTo>
                    <a:pt x="1454129" y="1239723"/>
                  </a:lnTo>
                  <a:lnTo>
                    <a:pt x="1480718" y="1203643"/>
                  </a:lnTo>
                  <a:lnTo>
                    <a:pt x="1505175" y="1166085"/>
                  </a:lnTo>
                  <a:lnTo>
                    <a:pt x="1527417" y="1127131"/>
                  </a:lnTo>
                  <a:lnTo>
                    <a:pt x="1547357" y="1086862"/>
                  </a:lnTo>
                  <a:lnTo>
                    <a:pt x="1564913" y="1045358"/>
                  </a:lnTo>
                  <a:lnTo>
                    <a:pt x="1580000" y="1002701"/>
                  </a:lnTo>
                  <a:lnTo>
                    <a:pt x="1592533" y="958972"/>
                  </a:lnTo>
                  <a:lnTo>
                    <a:pt x="1602428" y="914251"/>
                  </a:lnTo>
                  <a:lnTo>
                    <a:pt x="1609600" y="868621"/>
                  </a:lnTo>
                  <a:lnTo>
                    <a:pt x="1613966" y="822161"/>
                  </a:lnTo>
                  <a:lnTo>
                    <a:pt x="1615439" y="774954"/>
                  </a:lnTo>
                  <a:lnTo>
                    <a:pt x="1613966" y="727746"/>
                  </a:lnTo>
                  <a:lnTo>
                    <a:pt x="1609600" y="681286"/>
                  </a:lnTo>
                  <a:lnTo>
                    <a:pt x="1602428" y="635656"/>
                  </a:lnTo>
                  <a:lnTo>
                    <a:pt x="1592533" y="590935"/>
                  </a:lnTo>
                  <a:lnTo>
                    <a:pt x="1580000" y="547206"/>
                  </a:lnTo>
                  <a:lnTo>
                    <a:pt x="1564913" y="504549"/>
                  </a:lnTo>
                  <a:lnTo>
                    <a:pt x="1547357" y="463045"/>
                  </a:lnTo>
                  <a:lnTo>
                    <a:pt x="1527417" y="422776"/>
                  </a:lnTo>
                  <a:lnTo>
                    <a:pt x="1505175" y="383822"/>
                  </a:lnTo>
                  <a:lnTo>
                    <a:pt x="1480718" y="346264"/>
                  </a:lnTo>
                  <a:lnTo>
                    <a:pt x="1454129" y="310184"/>
                  </a:lnTo>
                  <a:lnTo>
                    <a:pt x="1425493" y="275663"/>
                  </a:lnTo>
                  <a:lnTo>
                    <a:pt x="1394895" y="242781"/>
                  </a:lnTo>
                  <a:lnTo>
                    <a:pt x="1362418" y="211620"/>
                  </a:lnTo>
                  <a:lnTo>
                    <a:pt x="1328148" y="182261"/>
                  </a:lnTo>
                  <a:lnTo>
                    <a:pt x="1292168" y="154784"/>
                  </a:lnTo>
                  <a:lnTo>
                    <a:pt x="1254563" y="129272"/>
                  </a:lnTo>
                  <a:lnTo>
                    <a:pt x="1215418" y="105805"/>
                  </a:lnTo>
                  <a:lnTo>
                    <a:pt x="1174816" y="84463"/>
                  </a:lnTo>
                  <a:lnTo>
                    <a:pt x="1132843" y="65329"/>
                  </a:lnTo>
                  <a:lnTo>
                    <a:pt x="1089583" y="48483"/>
                  </a:lnTo>
                  <a:lnTo>
                    <a:pt x="1045120" y="34007"/>
                  </a:lnTo>
                  <a:lnTo>
                    <a:pt x="999539" y="21980"/>
                  </a:lnTo>
                  <a:lnTo>
                    <a:pt x="952924" y="12485"/>
                  </a:lnTo>
                  <a:lnTo>
                    <a:pt x="905359" y="5603"/>
                  </a:lnTo>
                  <a:lnTo>
                    <a:pt x="856930" y="1414"/>
                  </a:lnTo>
                  <a:lnTo>
                    <a:pt x="807720" y="0"/>
                  </a:lnTo>
                  <a:close/>
                </a:path>
              </a:pathLst>
            </a:custGeom>
            <a:solidFill>
              <a:srgbClr val="CFF7E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p:nvPr/>
          </p:nvSpPr>
          <p:spPr>
            <a:xfrm>
              <a:off x="10369296" y="3483864"/>
              <a:ext cx="1615440" cy="1550035"/>
            </a:xfrm>
            <a:custGeom>
              <a:avLst/>
              <a:gdLst/>
              <a:ahLst/>
              <a:cxnLst/>
              <a:rect l="l" t="t" r="r" b="b"/>
              <a:pathLst>
                <a:path w="1615440" h="1550035">
                  <a:moveTo>
                    <a:pt x="0" y="774954"/>
                  </a:moveTo>
                  <a:lnTo>
                    <a:pt x="1473" y="727746"/>
                  </a:lnTo>
                  <a:lnTo>
                    <a:pt x="5839" y="681286"/>
                  </a:lnTo>
                  <a:lnTo>
                    <a:pt x="13011" y="635656"/>
                  </a:lnTo>
                  <a:lnTo>
                    <a:pt x="22906" y="590935"/>
                  </a:lnTo>
                  <a:lnTo>
                    <a:pt x="35439" y="547206"/>
                  </a:lnTo>
                  <a:lnTo>
                    <a:pt x="50526" y="504549"/>
                  </a:lnTo>
                  <a:lnTo>
                    <a:pt x="68082" y="463045"/>
                  </a:lnTo>
                  <a:lnTo>
                    <a:pt x="88022" y="422776"/>
                  </a:lnTo>
                  <a:lnTo>
                    <a:pt x="110264" y="383822"/>
                  </a:lnTo>
                  <a:lnTo>
                    <a:pt x="134721" y="346264"/>
                  </a:lnTo>
                  <a:lnTo>
                    <a:pt x="161310" y="310184"/>
                  </a:lnTo>
                  <a:lnTo>
                    <a:pt x="189946" y="275663"/>
                  </a:lnTo>
                  <a:lnTo>
                    <a:pt x="220544" y="242781"/>
                  </a:lnTo>
                  <a:lnTo>
                    <a:pt x="253021" y="211620"/>
                  </a:lnTo>
                  <a:lnTo>
                    <a:pt x="287291" y="182261"/>
                  </a:lnTo>
                  <a:lnTo>
                    <a:pt x="323271" y="154784"/>
                  </a:lnTo>
                  <a:lnTo>
                    <a:pt x="360876" y="129272"/>
                  </a:lnTo>
                  <a:lnTo>
                    <a:pt x="400021" y="105805"/>
                  </a:lnTo>
                  <a:lnTo>
                    <a:pt x="440623" y="84463"/>
                  </a:lnTo>
                  <a:lnTo>
                    <a:pt x="482596" y="65329"/>
                  </a:lnTo>
                  <a:lnTo>
                    <a:pt x="525856" y="48483"/>
                  </a:lnTo>
                  <a:lnTo>
                    <a:pt x="570319" y="34007"/>
                  </a:lnTo>
                  <a:lnTo>
                    <a:pt x="615900" y="21980"/>
                  </a:lnTo>
                  <a:lnTo>
                    <a:pt x="662515" y="12485"/>
                  </a:lnTo>
                  <a:lnTo>
                    <a:pt x="710080" y="5603"/>
                  </a:lnTo>
                  <a:lnTo>
                    <a:pt x="758509" y="1414"/>
                  </a:lnTo>
                  <a:lnTo>
                    <a:pt x="807720" y="0"/>
                  </a:lnTo>
                  <a:lnTo>
                    <a:pt x="856930" y="1414"/>
                  </a:lnTo>
                  <a:lnTo>
                    <a:pt x="905359" y="5603"/>
                  </a:lnTo>
                  <a:lnTo>
                    <a:pt x="952924" y="12485"/>
                  </a:lnTo>
                  <a:lnTo>
                    <a:pt x="999539" y="21980"/>
                  </a:lnTo>
                  <a:lnTo>
                    <a:pt x="1045120" y="34007"/>
                  </a:lnTo>
                  <a:lnTo>
                    <a:pt x="1089583" y="48483"/>
                  </a:lnTo>
                  <a:lnTo>
                    <a:pt x="1132843" y="65329"/>
                  </a:lnTo>
                  <a:lnTo>
                    <a:pt x="1174816" y="84463"/>
                  </a:lnTo>
                  <a:lnTo>
                    <a:pt x="1215418" y="105805"/>
                  </a:lnTo>
                  <a:lnTo>
                    <a:pt x="1254563" y="129272"/>
                  </a:lnTo>
                  <a:lnTo>
                    <a:pt x="1292168" y="154784"/>
                  </a:lnTo>
                  <a:lnTo>
                    <a:pt x="1328148" y="182261"/>
                  </a:lnTo>
                  <a:lnTo>
                    <a:pt x="1362418" y="211620"/>
                  </a:lnTo>
                  <a:lnTo>
                    <a:pt x="1394895" y="242781"/>
                  </a:lnTo>
                  <a:lnTo>
                    <a:pt x="1425493" y="275663"/>
                  </a:lnTo>
                  <a:lnTo>
                    <a:pt x="1454129" y="310184"/>
                  </a:lnTo>
                  <a:lnTo>
                    <a:pt x="1480718" y="346264"/>
                  </a:lnTo>
                  <a:lnTo>
                    <a:pt x="1505175" y="383822"/>
                  </a:lnTo>
                  <a:lnTo>
                    <a:pt x="1527417" y="422776"/>
                  </a:lnTo>
                  <a:lnTo>
                    <a:pt x="1547357" y="463045"/>
                  </a:lnTo>
                  <a:lnTo>
                    <a:pt x="1564913" y="504549"/>
                  </a:lnTo>
                  <a:lnTo>
                    <a:pt x="1580000" y="547206"/>
                  </a:lnTo>
                  <a:lnTo>
                    <a:pt x="1592533" y="590935"/>
                  </a:lnTo>
                  <a:lnTo>
                    <a:pt x="1602428" y="635656"/>
                  </a:lnTo>
                  <a:lnTo>
                    <a:pt x="1609600" y="681286"/>
                  </a:lnTo>
                  <a:lnTo>
                    <a:pt x="1613966" y="727746"/>
                  </a:lnTo>
                  <a:lnTo>
                    <a:pt x="1615439" y="774954"/>
                  </a:lnTo>
                  <a:lnTo>
                    <a:pt x="1613966" y="822161"/>
                  </a:lnTo>
                  <a:lnTo>
                    <a:pt x="1609600" y="868621"/>
                  </a:lnTo>
                  <a:lnTo>
                    <a:pt x="1602428" y="914251"/>
                  </a:lnTo>
                  <a:lnTo>
                    <a:pt x="1592533" y="958972"/>
                  </a:lnTo>
                  <a:lnTo>
                    <a:pt x="1580000" y="1002701"/>
                  </a:lnTo>
                  <a:lnTo>
                    <a:pt x="1564913" y="1045358"/>
                  </a:lnTo>
                  <a:lnTo>
                    <a:pt x="1547357" y="1086862"/>
                  </a:lnTo>
                  <a:lnTo>
                    <a:pt x="1527417" y="1127131"/>
                  </a:lnTo>
                  <a:lnTo>
                    <a:pt x="1505175" y="1166085"/>
                  </a:lnTo>
                  <a:lnTo>
                    <a:pt x="1480718" y="1203643"/>
                  </a:lnTo>
                  <a:lnTo>
                    <a:pt x="1454129" y="1239723"/>
                  </a:lnTo>
                  <a:lnTo>
                    <a:pt x="1425493" y="1274244"/>
                  </a:lnTo>
                  <a:lnTo>
                    <a:pt x="1394895" y="1307126"/>
                  </a:lnTo>
                  <a:lnTo>
                    <a:pt x="1362418" y="1338287"/>
                  </a:lnTo>
                  <a:lnTo>
                    <a:pt x="1328148" y="1367646"/>
                  </a:lnTo>
                  <a:lnTo>
                    <a:pt x="1292168" y="1395123"/>
                  </a:lnTo>
                  <a:lnTo>
                    <a:pt x="1254563" y="1420635"/>
                  </a:lnTo>
                  <a:lnTo>
                    <a:pt x="1215418" y="1444102"/>
                  </a:lnTo>
                  <a:lnTo>
                    <a:pt x="1174816" y="1465444"/>
                  </a:lnTo>
                  <a:lnTo>
                    <a:pt x="1132843" y="1484578"/>
                  </a:lnTo>
                  <a:lnTo>
                    <a:pt x="1089583" y="1501424"/>
                  </a:lnTo>
                  <a:lnTo>
                    <a:pt x="1045120" y="1515900"/>
                  </a:lnTo>
                  <a:lnTo>
                    <a:pt x="999539" y="1527927"/>
                  </a:lnTo>
                  <a:lnTo>
                    <a:pt x="952924" y="1537422"/>
                  </a:lnTo>
                  <a:lnTo>
                    <a:pt x="905359" y="1544304"/>
                  </a:lnTo>
                  <a:lnTo>
                    <a:pt x="856930" y="1548493"/>
                  </a:lnTo>
                  <a:lnTo>
                    <a:pt x="807720" y="1549908"/>
                  </a:lnTo>
                  <a:lnTo>
                    <a:pt x="758509" y="1548493"/>
                  </a:lnTo>
                  <a:lnTo>
                    <a:pt x="710080" y="1544304"/>
                  </a:lnTo>
                  <a:lnTo>
                    <a:pt x="662515" y="1537422"/>
                  </a:lnTo>
                  <a:lnTo>
                    <a:pt x="615900" y="1527927"/>
                  </a:lnTo>
                  <a:lnTo>
                    <a:pt x="570319" y="1515900"/>
                  </a:lnTo>
                  <a:lnTo>
                    <a:pt x="525856" y="1501424"/>
                  </a:lnTo>
                  <a:lnTo>
                    <a:pt x="482596" y="1484578"/>
                  </a:lnTo>
                  <a:lnTo>
                    <a:pt x="440623" y="1465444"/>
                  </a:lnTo>
                  <a:lnTo>
                    <a:pt x="400021" y="1444102"/>
                  </a:lnTo>
                  <a:lnTo>
                    <a:pt x="360876" y="1420635"/>
                  </a:lnTo>
                  <a:lnTo>
                    <a:pt x="323271" y="1395123"/>
                  </a:lnTo>
                  <a:lnTo>
                    <a:pt x="287291" y="1367646"/>
                  </a:lnTo>
                  <a:lnTo>
                    <a:pt x="253021" y="1338287"/>
                  </a:lnTo>
                  <a:lnTo>
                    <a:pt x="220544" y="1307126"/>
                  </a:lnTo>
                  <a:lnTo>
                    <a:pt x="189946" y="1274244"/>
                  </a:lnTo>
                  <a:lnTo>
                    <a:pt x="161310" y="1239723"/>
                  </a:lnTo>
                  <a:lnTo>
                    <a:pt x="134721" y="1203643"/>
                  </a:lnTo>
                  <a:lnTo>
                    <a:pt x="110264" y="1166085"/>
                  </a:lnTo>
                  <a:lnTo>
                    <a:pt x="88022" y="1127131"/>
                  </a:lnTo>
                  <a:lnTo>
                    <a:pt x="68082" y="1086862"/>
                  </a:lnTo>
                  <a:lnTo>
                    <a:pt x="50526" y="1045358"/>
                  </a:lnTo>
                  <a:lnTo>
                    <a:pt x="35439" y="1002701"/>
                  </a:lnTo>
                  <a:lnTo>
                    <a:pt x="22906" y="958972"/>
                  </a:lnTo>
                  <a:lnTo>
                    <a:pt x="13011" y="914251"/>
                  </a:lnTo>
                  <a:lnTo>
                    <a:pt x="5839" y="868621"/>
                  </a:lnTo>
                  <a:lnTo>
                    <a:pt x="1473" y="822161"/>
                  </a:lnTo>
                  <a:lnTo>
                    <a:pt x="0" y="774954"/>
                  </a:lnTo>
                  <a:close/>
                </a:path>
              </a:pathLst>
            </a:custGeom>
            <a:ln w="12700">
              <a:solidFill>
                <a:srgbClr val="6C314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2" name="object 12"/>
          <p:cNvSpPr txBox="1"/>
          <p:nvPr/>
        </p:nvSpPr>
        <p:spPr>
          <a:xfrm>
            <a:off x="10739119" y="3561334"/>
            <a:ext cx="876935" cy="1384935"/>
          </a:xfrm>
          <a:prstGeom prst="rect">
            <a:avLst/>
          </a:prstGeom>
        </p:spPr>
        <p:txBody>
          <a:bodyPr vert="horz" wrap="square" lIns="0" tIns="12065" rIns="0" bIns="0" rtlCol="0">
            <a:spAutoFit/>
          </a:bodyPr>
          <a:lstStyle/>
          <a:p>
            <a:pPr marL="201295" marR="165735" lvl="0" indent="-15240" algn="just" defTabSz="914400" eaLnBrk="1" fontAlgn="auto" latinLnBrk="0" hangingPunct="1">
              <a:lnSpc>
                <a:spcPct val="100000"/>
              </a:lnSpc>
              <a:spcBef>
                <a:spcPts val="95"/>
              </a:spcBef>
              <a:spcAft>
                <a:spcPts val="0"/>
              </a:spcAft>
              <a:buClrTx/>
              <a:buSzTx/>
              <a:buFontTx/>
              <a:buNone/>
              <a:tabLst/>
              <a:defRPr/>
            </a:pPr>
            <a:r>
              <a:rPr kumimoji="0" sz="1000" b="1" i="0" u="none" strike="noStrike" kern="0" cap="none" spc="-10" normalizeH="0" baseline="0" noProof="0" dirty="0">
                <a:ln>
                  <a:noFill/>
                </a:ln>
                <a:solidFill>
                  <a:sysClr val="windowText" lastClr="000000"/>
                </a:solidFill>
                <a:effectLst/>
                <a:uLnTx/>
                <a:uFillTx/>
                <a:latin typeface="Calibri"/>
                <a:cs typeface="Calibri"/>
              </a:rPr>
              <a:t>Medicaid Payment Method:</a:t>
            </a:r>
            <a:endParaRPr kumimoji="0" sz="1000" b="0" i="0" u="none" strike="noStrike" kern="0" cap="none" spc="0" normalizeH="0" baseline="0" noProof="0">
              <a:ln>
                <a:noFill/>
              </a:ln>
              <a:solidFill>
                <a:sysClr val="windowText" lastClr="000000"/>
              </a:solidFill>
              <a:effectLst/>
              <a:uLnTx/>
              <a:uFillTx/>
              <a:latin typeface="Calibri"/>
              <a:cs typeface="Calibri"/>
            </a:endParaRPr>
          </a:p>
          <a:p>
            <a:pPr marL="0" marR="0" lvl="0" indent="0" algn="ctr" defTabSz="914400" eaLnBrk="1" fontAlgn="auto" latinLnBrk="0" hangingPunct="1">
              <a:lnSpc>
                <a:spcPct val="100000"/>
              </a:lnSpc>
              <a:spcBef>
                <a:spcPts val="1195"/>
              </a:spcBef>
              <a:spcAft>
                <a:spcPts val="0"/>
              </a:spcAft>
              <a:buClrTx/>
              <a:buSzTx/>
              <a:buFontTx/>
              <a:buNone/>
              <a:tabLst/>
              <a:defRPr/>
            </a:pPr>
            <a:r>
              <a:rPr kumimoji="0" sz="1050" b="0" i="0" u="none" strike="noStrike" kern="0" cap="none" spc="-10" normalizeH="0" baseline="0" noProof="0" dirty="0">
                <a:ln>
                  <a:noFill/>
                </a:ln>
                <a:solidFill>
                  <a:sysClr val="windowText" lastClr="000000"/>
                </a:solidFill>
                <a:effectLst/>
                <a:uLnTx/>
                <a:uFillTx/>
                <a:latin typeface="Calibri"/>
                <a:cs typeface="Calibri"/>
              </a:rPr>
              <a:t>42</a:t>
            </a:r>
            <a:r>
              <a:rPr kumimoji="0" sz="1050" b="0" i="0" u="none" strike="noStrike" kern="0" cap="none" spc="-35" normalizeH="0" baseline="0" noProof="0" dirty="0">
                <a:ln>
                  <a:noFill/>
                </a:ln>
                <a:solidFill>
                  <a:sysClr val="windowText" lastClr="000000"/>
                </a:solidFill>
                <a:effectLst/>
                <a:uLnTx/>
                <a:uFillTx/>
                <a:latin typeface="Calibri"/>
                <a:cs typeface="Calibri"/>
              </a:rPr>
              <a:t> </a:t>
            </a:r>
            <a:r>
              <a:rPr kumimoji="0" sz="1050" b="0" i="0" u="none" strike="noStrike" kern="0" cap="none" spc="120" normalizeH="0" baseline="0" noProof="0" dirty="0">
                <a:ln>
                  <a:noFill/>
                </a:ln>
                <a:solidFill>
                  <a:sysClr val="windowText" lastClr="000000"/>
                </a:solidFill>
                <a:effectLst/>
                <a:uLnTx/>
                <a:uFillTx/>
                <a:latin typeface="Calibri"/>
                <a:cs typeface="Calibri"/>
              </a:rPr>
              <a:t>%</a:t>
            </a:r>
            <a:r>
              <a:rPr kumimoji="0" sz="1050" b="0" i="0" u="none" strike="noStrike" kern="0" cap="none" spc="170" normalizeH="0" baseline="0" noProof="0" dirty="0">
                <a:ln>
                  <a:noFill/>
                </a:ln>
                <a:solidFill>
                  <a:sysClr val="windowText" lastClr="000000"/>
                </a:solidFill>
                <a:effectLst/>
                <a:uLnTx/>
                <a:uFillTx/>
                <a:latin typeface="Calibri"/>
                <a:cs typeface="Calibri"/>
              </a:rPr>
              <a:t> </a:t>
            </a:r>
            <a:r>
              <a:rPr kumimoji="0" sz="1050" b="0" i="0" u="none" strike="noStrike" kern="0" cap="none" spc="-10" normalizeH="0" baseline="0" noProof="0" dirty="0">
                <a:ln>
                  <a:noFill/>
                </a:ln>
                <a:solidFill>
                  <a:sysClr val="windowText" lastClr="000000"/>
                </a:solidFill>
                <a:effectLst/>
                <a:uLnTx/>
                <a:uFillTx/>
                <a:latin typeface="Calibri"/>
                <a:cs typeface="Calibri"/>
              </a:rPr>
              <a:t>Hospitals</a:t>
            </a:r>
            <a:endParaRPr kumimoji="0" sz="1050" b="0" i="0" u="none" strike="noStrike" kern="0" cap="none" spc="0" normalizeH="0" baseline="0" noProof="0">
              <a:ln>
                <a:noFill/>
              </a:ln>
              <a:solidFill>
                <a:sysClr val="windowText" lastClr="000000"/>
              </a:solidFill>
              <a:effectLst/>
              <a:uLnTx/>
              <a:uFillTx/>
              <a:latin typeface="Calibri"/>
              <a:cs typeface="Calibri"/>
            </a:endParaRPr>
          </a:p>
          <a:p>
            <a:pPr marL="1270" marR="0" lvl="0" indent="0" algn="ctr" defTabSz="914400" eaLnBrk="1" fontAlgn="auto" latinLnBrk="0" hangingPunct="1">
              <a:lnSpc>
                <a:spcPct val="100000"/>
              </a:lnSpc>
              <a:spcBef>
                <a:spcPts val="5"/>
              </a:spcBef>
              <a:spcAft>
                <a:spcPts val="0"/>
              </a:spcAft>
              <a:buClrTx/>
              <a:buSzTx/>
              <a:buFontTx/>
              <a:buNone/>
              <a:tabLst/>
              <a:defRPr/>
            </a:pPr>
            <a:r>
              <a:rPr kumimoji="0" sz="1050" b="0" i="0" u="none" strike="noStrike" kern="0" cap="none" spc="-10" normalizeH="0" baseline="0" noProof="0" dirty="0">
                <a:ln>
                  <a:noFill/>
                </a:ln>
                <a:solidFill>
                  <a:sysClr val="windowText" lastClr="000000"/>
                </a:solidFill>
                <a:effectLst/>
                <a:uLnTx/>
                <a:uFillTx/>
                <a:latin typeface="Calibri"/>
                <a:cs typeface="Calibri"/>
              </a:rPr>
              <a:t>19</a:t>
            </a:r>
            <a:r>
              <a:rPr kumimoji="0" sz="1050" b="0" i="0" u="none" strike="noStrike" kern="0" cap="none" spc="-40" normalizeH="0" baseline="0" noProof="0" dirty="0">
                <a:ln>
                  <a:noFill/>
                </a:ln>
                <a:solidFill>
                  <a:sysClr val="windowText" lastClr="000000"/>
                </a:solidFill>
                <a:effectLst/>
                <a:uLnTx/>
                <a:uFillTx/>
                <a:latin typeface="Calibri"/>
                <a:cs typeface="Calibri"/>
              </a:rPr>
              <a:t> </a:t>
            </a:r>
            <a:r>
              <a:rPr kumimoji="0" sz="1050" b="0" i="0" u="none" strike="noStrike" kern="0" cap="none" spc="120" normalizeH="0" baseline="0" noProof="0" dirty="0">
                <a:ln>
                  <a:noFill/>
                </a:ln>
                <a:solidFill>
                  <a:sysClr val="windowText" lastClr="000000"/>
                </a:solidFill>
                <a:effectLst/>
                <a:uLnTx/>
                <a:uFillTx/>
                <a:latin typeface="Calibri"/>
                <a:cs typeface="Calibri"/>
              </a:rPr>
              <a:t>%</a:t>
            </a:r>
            <a:r>
              <a:rPr kumimoji="0" sz="1050" b="0" i="0" u="none" strike="noStrike" kern="0" cap="none" spc="-35" normalizeH="0" baseline="0" noProof="0" dirty="0">
                <a:ln>
                  <a:noFill/>
                </a:ln>
                <a:solidFill>
                  <a:sysClr val="windowText" lastClr="000000"/>
                </a:solidFill>
                <a:effectLst/>
                <a:uLnTx/>
                <a:uFillTx/>
                <a:latin typeface="Calibri"/>
                <a:cs typeface="Calibri"/>
              </a:rPr>
              <a:t> </a:t>
            </a:r>
            <a:r>
              <a:rPr kumimoji="0" sz="1050" b="0" i="0" u="none" strike="noStrike" kern="0" cap="none" spc="-10" normalizeH="0" baseline="0" noProof="0" dirty="0">
                <a:ln>
                  <a:noFill/>
                </a:ln>
                <a:solidFill>
                  <a:sysClr val="windowText" lastClr="000000"/>
                </a:solidFill>
                <a:effectLst/>
                <a:uLnTx/>
                <a:uFillTx/>
                <a:latin typeface="Calibri"/>
                <a:cs typeface="Calibri"/>
              </a:rPr>
              <a:t>Birth</a:t>
            </a:r>
            <a:endParaRPr kumimoji="0" sz="1050" b="0" i="0" u="none" strike="noStrike" kern="0" cap="none" spc="0" normalizeH="0" baseline="0" noProof="0">
              <a:ln>
                <a:noFill/>
              </a:ln>
              <a:solidFill>
                <a:sysClr val="windowText" lastClr="000000"/>
              </a:solidFill>
              <a:effectLst/>
              <a:uLnTx/>
              <a:uFillTx/>
              <a:latin typeface="Calibri"/>
              <a:cs typeface="Calibri"/>
            </a:endParaRPr>
          </a:p>
          <a:p>
            <a:pPr marL="1905" marR="0" lvl="0" indent="0" algn="ctr" defTabSz="914400" eaLnBrk="1" fontAlgn="auto" latinLnBrk="0" hangingPunct="1">
              <a:lnSpc>
                <a:spcPct val="100000"/>
              </a:lnSpc>
              <a:spcBef>
                <a:spcPts val="0"/>
              </a:spcBef>
              <a:spcAft>
                <a:spcPts val="0"/>
              </a:spcAft>
              <a:buClrTx/>
              <a:buSzTx/>
              <a:buFontTx/>
              <a:buNone/>
              <a:tabLst/>
              <a:defRPr/>
            </a:pPr>
            <a:r>
              <a:rPr kumimoji="0" sz="1050" b="0" i="0" u="none" strike="noStrike" kern="0" cap="none" spc="-10" normalizeH="0" baseline="0" noProof="0" dirty="0">
                <a:ln>
                  <a:noFill/>
                </a:ln>
                <a:solidFill>
                  <a:sysClr val="windowText" lastClr="000000"/>
                </a:solidFill>
                <a:effectLst/>
                <a:uLnTx/>
                <a:uFillTx/>
                <a:latin typeface="Calibri"/>
                <a:cs typeface="Calibri"/>
              </a:rPr>
              <a:t>Centers</a:t>
            </a:r>
            <a:endParaRPr kumimoji="0" sz="105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5"/>
              </a:spcBef>
              <a:spcAft>
                <a:spcPts val="0"/>
              </a:spcAft>
              <a:buClrTx/>
              <a:buSzTx/>
              <a:buFontTx/>
              <a:buNone/>
              <a:tabLst/>
              <a:defRPr/>
            </a:pPr>
            <a:endParaRPr kumimoji="0" sz="1050" b="0" i="0" u="none" strike="noStrike" kern="0" cap="none" spc="0" normalizeH="0" baseline="0" noProof="0">
              <a:ln>
                <a:noFill/>
              </a:ln>
              <a:solidFill>
                <a:sysClr val="windowText" lastClr="000000"/>
              </a:solidFill>
              <a:effectLst/>
              <a:uLnTx/>
              <a:uFillTx/>
              <a:latin typeface="Calibri"/>
              <a:cs typeface="Calibri"/>
            </a:endParaRPr>
          </a:p>
          <a:p>
            <a:pPr marL="635" marR="0" lvl="0" indent="0" algn="ctr" defTabSz="914400" eaLnBrk="1" fontAlgn="auto" latinLnBrk="0" hangingPunct="1">
              <a:lnSpc>
                <a:spcPct val="100000"/>
              </a:lnSpc>
              <a:spcBef>
                <a:spcPts val="0"/>
              </a:spcBef>
              <a:spcAft>
                <a:spcPts val="0"/>
              </a:spcAft>
              <a:buClrTx/>
              <a:buSzTx/>
              <a:buFontTx/>
              <a:buNone/>
              <a:tabLst/>
              <a:defRPr/>
            </a:pPr>
            <a:r>
              <a:rPr kumimoji="0" sz="700" b="0" i="1" u="none" strike="noStrike" kern="0" cap="none" spc="0" normalizeH="0" baseline="0" noProof="0" dirty="0">
                <a:ln>
                  <a:noFill/>
                </a:ln>
                <a:solidFill>
                  <a:sysClr val="windowText" lastClr="000000"/>
                </a:solidFill>
                <a:effectLst/>
                <a:uLnTx/>
                <a:uFillTx/>
                <a:latin typeface="Calibri"/>
                <a:cs typeface="Calibri"/>
              </a:rPr>
              <a:t>(Source: </a:t>
            </a:r>
            <a:r>
              <a:rPr kumimoji="0" sz="700" b="0" i="1" u="none" strike="noStrike" kern="0" cap="none" spc="-20" normalizeH="0" baseline="0" noProof="0" dirty="0">
                <a:ln>
                  <a:noFill/>
                </a:ln>
                <a:solidFill>
                  <a:sysClr val="windowText" lastClr="000000"/>
                </a:solidFill>
                <a:effectLst/>
                <a:uLnTx/>
                <a:uFillTx/>
                <a:latin typeface="Calibri"/>
                <a:cs typeface="Calibri"/>
              </a:rPr>
              <a:t>MOD)</a:t>
            </a:r>
            <a:endParaRPr kumimoji="0" sz="7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3"/>
        <p:cNvGrpSpPr/>
        <p:nvPr/>
      </p:nvGrpSpPr>
      <p:grpSpPr>
        <a:xfrm>
          <a:off x="0" y="0"/>
          <a:ext cx="0" cy="0"/>
          <a:chOff x="0" y="0"/>
          <a:chExt cx="0" cy="0"/>
        </a:xfrm>
      </p:grpSpPr>
      <p:sp>
        <p:nvSpPr>
          <p:cNvPr id="124" name="Google Shape;124;p3"/>
          <p:cNvSpPr txBox="1">
            <a:spLocks noGrp="1"/>
          </p:cNvSpPr>
          <p:nvPr>
            <p:ph type="title"/>
          </p:nvPr>
        </p:nvSpPr>
        <p:spPr>
          <a:xfrm>
            <a:off x="2342445" y="609600"/>
            <a:ext cx="7963456"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3600" dirty="0">
                <a:solidFill>
                  <a:schemeClr val="lt1"/>
                </a:solidFill>
                <a:latin typeface="Oswald"/>
                <a:ea typeface="Oswald"/>
                <a:cs typeface="Oswald"/>
                <a:sym typeface="Oswald"/>
              </a:rPr>
              <a:t>BIRTH CENTER: AABC Definition</a:t>
            </a:r>
            <a:endParaRPr sz="3600" dirty="0"/>
          </a:p>
        </p:txBody>
      </p:sp>
      <p:sp>
        <p:nvSpPr>
          <p:cNvPr id="125" name="Google Shape;125;p3"/>
          <p:cNvSpPr txBox="1">
            <a:spLocks noGrp="1"/>
          </p:cNvSpPr>
          <p:nvPr>
            <p:ph type="body" idx="1"/>
          </p:nvPr>
        </p:nvSpPr>
        <p:spPr>
          <a:xfrm>
            <a:off x="2317400" y="2184550"/>
            <a:ext cx="7665000" cy="3543300"/>
          </a:xfrm>
          <a:prstGeom prst="rect">
            <a:avLst/>
          </a:prstGeom>
          <a:noFill/>
          <a:ln>
            <a:noFill/>
          </a:ln>
        </p:spPr>
        <p:txBody>
          <a:bodyPr spcFirstLastPara="1" wrap="square" lIns="92075" tIns="46025" rIns="92075" bIns="46025" anchor="t" anchorCtr="0">
            <a:noAutofit/>
          </a:bodyPr>
          <a:lstStyle/>
          <a:p>
            <a:pPr marL="0" indent="0">
              <a:spcBef>
                <a:spcPts val="0"/>
              </a:spcBef>
              <a:buSzPts val="2240"/>
              <a:buNone/>
            </a:pPr>
            <a:r>
              <a:rPr lang="en-US" sz="2000" b="0" dirty="0">
                <a:latin typeface="Times New Roman"/>
                <a:ea typeface="Times New Roman"/>
                <a:cs typeface="Times New Roman"/>
                <a:sym typeface="Times New Roman"/>
              </a:rPr>
              <a:t>The birth center is a health care facility for childbirth where care is provided in the midwifery and wellness model. </a:t>
            </a:r>
            <a:r>
              <a:rPr lang="en-US" sz="2000" b="0" i="1" dirty="0">
                <a:latin typeface="Times New Roman"/>
                <a:ea typeface="Times New Roman"/>
                <a:cs typeface="Times New Roman"/>
                <a:sym typeface="Times New Roman"/>
              </a:rPr>
              <a:t>The birth center is freestanding and not part of a hospital</a:t>
            </a:r>
            <a:r>
              <a:rPr lang="en-US" sz="2000" b="0" dirty="0">
                <a:latin typeface="Times New Roman"/>
                <a:ea typeface="Times New Roman"/>
                <a:cs typeface="Times New Roman"/>
                <a:sym typeface="Times New Roman"/>
              </a:rPr>
              <a:t>. </a:t>
            </a:r>
            <a:endParaRPr sz="2000" b="0" dirty="0">
              <a:latin typeface="Times New Roman"/>
              <a:ea typeface="Times New Roman"/>
              <a:cs typeface="Times New Roman"/>
              <a:sym typeface="Times New Roman"/>
            </a:endParaRPr>
          </a:p>
          <a:p>
            <a:pPr marL="0" indent="0">
              <a:spcBef>
                <a:spcPts val="0"/>
              </a:spcBef>
              <a:buSzPts val="2240"/>
              <a:buNone/>
            </a:pPr>
            <a:r>
              <a:rPr lang="en-US" sz="2000" b="0" dirty="0">
                <a:latin typeface="Times New Roman"/>
                <a:ea typeface="Times New Roman"/>
                <a:cs typeface="Times New Roman"/>
                <a:sym typeface="Times New Roman"/>
              </a:rPr>
              <a:t>Birth centers are an integrated part of the healthcare system and are guided by principles of </a:t>
            </a:r>
            <a:r>
              <a:rPr lang="en-US" sz="2000" b="0" i="1" dirty="0">
                <a:latin typeface="Times New Roman"/>
                <a:ea typeface="Times New Roman"/>
                <a:cs typeface="Times New Roman"/>
                <a:sym typeface="Times New Roman"/>
              </a:rPr>
              <a:t>prevention, sensitivity, safety. appropriate medical intervention and cost-effectiveness</a:t>
            </a:r>
            <a:r>
              <a:rPr lang="en-US" sz="2000" b="0" dirty="0">
                <a:latin typeface="Times New Roman"/>
                <a:ea typeface="Times New Roman"/>
                <a:cs typeface="Times New Roman"/>
                <a:sym typeface="Times New Roman"/>
              </a:rPr>
              <a:t>.  While the practice of midwifery and the support of physiologic birth and newborn transition may occur in other settings, this is the exclusive model of care in a birth center.   </a:t>
            </a:r>
          </a:p>
          <a:p>
            <a:pPr marL="0" indent="0">
              <a:spcBef>
                <a:spcPts val="0"/>
              </a:spcBef>
              <a:buSzPts val="2240"/>
              <a:buNone/>
            </a:pPr>
            <a:r>
              <a:rPr lang="en-US" sz="2000" b="0" dirty="0">
                <a:latin typeface="Times New Roman"/>
                <a:ea typeface="Times New Roman"/>
                <a:cs typeface="Times New Roman"/>
                <a:sym typeface="Times New Roman"/>
              </a:rPr>
              <a:t>The birth center is described with 5 Ps: </a:t>
            </a:r>
          </a:p>
          <a:p>
            <a:pPr marL="0" indent="0">
              <a:spcBef>
                <a:spcPts val="0"/>
              </a:spcBef>
              <a:buSzPts val="2240"/>
              <a:buNone/>
            </a:pPr>
            <a:r>
              <a:rPr lang="en-US" sz="2000" b="0" dirty="0">
                <a:latin typeface="Times New Roman"/>
                <a:ea typeface="Times New Roman"/>
                <a:cs typeface="Times New Roman"/>
                <a:sym typeface="Times New Roman"/>
              </a:rPr>
              <a:t>People    Place    Program    Practice of Midwifery    Part of the System   </a:t>
            </a:r>
            <a:endParaRPr sz="2000" dirty="0"/>
          </a:p>
          <a:p>
            <a:pPr marL="342900" indent="-342900">
              <a:spcBef>
                <a:spcPts val="0"/>
              </a:spcBef>
              <a:buSzPts val="2560"/>
              <a:buNone/>
            </a:pPr>
            <a:endParaRPr b="0" dirty="0">
              <a:latin typeface="Times New Roman"/>
              <a:ea typeface="Times New Roman"/>
              <a:cs typeface="Times New Roman"/>
              <a:sym typeface="Times New Roman"/>
            </a:endParaRPr>
          </a:p>
          <a:p>
            <a:pPr marL="342900" indent="-342900">
              <a:spcBef>
                <a:spcPts val="0"/>
              </a:spcBef>
              <a:buSzPts val="2560"/>
              <a:buNone/>
            </a:pPr>
            <a:r>
              <a:rPr lang="en-US" sz="2000" b="0" dirty="0">
                <a:latin typeface="Times New Roman"/>
                <a:ea typeface="Times New Roman"/>
                <a:cs typeface="Times New Roman"/>
                <a:sym typeface="Times New Roman"/>
              </a:rPr>
              <a:t>-American Association of Birth Centers  “What is a Birth Center” </a:t>
            </a:r>
            <a:endParaRPr sz="2400"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98120" rIns="0" bIns="0" rtlCol="0">
            <a:spAutoFit/>
          </a:bodyPr>
          <a:lstStyle/>
          <a:p>
            <a:pPr marL="380365">
              <a:lnSpc>
                <a:spcPct val="100000"/>
              </a:lnSpc>
              <a:spcBef>
                <a:spcPts val="105"/>
              </a:spcBef>
            </a:pPr>
            <a:r>
              <a:rPr dirty="0"/>
              <a:t>America</a:t>
            </a:r>
            <a:r>
              <a:rPr spc="-10" dirty="0"/>
              <a:t> </a:t>
            </a:r>
            <a:r>
              <a:rPr spc="50" dirty="0"/>
              <a:t>Association</a:t>
            </a:r>
            <a:r>
              <a:rPr spc="-30" dirty="0"/>
              <a:t> </a:t>
            </a:r>
            <a:r>
              <a:rPr dirty="0"/>
              <a:t>of</a:t>
            </a:r>
            <a:r>
              <a:rPr spc="-5" dirty="0"/>
              <a:t> </a:t>
            </a:r>
            <a:r>
              <a:rPr spc="60" dirty="0"/>
              <a:t>Birth</a:t>
            </a:r>
            <a:r>
              <a:rPr spc="-30" dirty="0"/>
              <a:t> </a:t>
            </a:r>
            <a:r>
              <a:rPr dirty="0"/>
              <a:t>Centers</a:t>
            </a:r>
            <a:r>
              <a:rPr spc="-30" dirty="0"/>
              <a:t> </a:t>
            </a:r>
            <a:r>
              <a:rPr spc="-10" dirty="0"/>
              <a:t>Efforts</a:t>
            </a:r>
          </a:p>
        </p:txBody>
      </p:sp>
      <p:sp>
        <p:nvSpPr>
          <p:cNvPr id="3" name="object 3"/>
          <p:cNvSpPr txBox="1"/>
          <p:nvPr/>
        </p:nvSpPr>
        <p:spPr>
          <a:xfrm>
            <a:off x="1183030" y="1108608"/>
            <a:ext cx="9436100" cy="5180330"/>
          </a:xfrm>
          <a:prstGeom prst="rect">
            <a:avLst/>
          </a:prstGeom>
        </p:spPr>
        <p:txBody>
          <a:bodyPr vert="horz" wrap="square" lIns="0" tIns="53975" rIns="0" bIns="0" rtlCol="0">
            <a:spAutoFit/>
          </a:bodyPr>
          <a:lstStyle/>
          <a:p>
            <a:pPr marL="240029" marR="0" lvl="0" indent="-227329" defTabSz="914400" eaLnBrk="1" fontAlgn="auto" latinLnBrk="0" hangingPunct="1">
              <a:lnSpc>
                <a:spcPct val="100000"/>
              </a:lnSpc>
              <a:spcBef>
                <a:spcPts val="425"/>
              </a:spcBef>
              <a:spcAft>
                <a:spcPts val="0"/>
              </a:spcAft>
              <a:buClrTx/>
              <a:buSzTx/>
              <a:buFont typeface="Arial"/>
              <a:buChar char="•"/>
              <a:tabLst>
                <a:tab pos="240029" algn="l"/>
              </a:tabLst>
              <a:defRPr/>
            </a:pPr>
            <a:r>
              <a:rPr kumimoji="0" sz="2800" b="0" i="0" u="none" strike="noStrike" kern="0" cap="none" spc="60" normalizeH="0" baseline="0" noProof="0" dirty="0">
                <a:ln>
                  <a:noFill/>
                </a:ln>
                <a:solidFill>
                  <a:srgbClr val="FFFFFF"/>
                </a:solidFill>
                <a:effectLst/>
                <a:uLnTx/>
                <a:uFillTx/>
                <a:latin typeface="Calibri"/>
                <a:cs typeface="Calibri"/>
              </a:rPr>
              <a:t>Teaching</a:t>
            </a:r>
            <a:r>
              <a:rPr kumimoji="0" sz="2800" b="0" i="0" u="none" strike="noStrike" kern="0" cap="none" spc="150" normalizeH="0" baseline="0" noProof="0" dirty="0">
                <a:ln>
                  <a:noFill/>
                </a:ln>
                <a:solidFill>
                  <a:srgbClr val="FFFFFF"/>
                </a:solidFill>
                <a:effectLst/>
                <a:uLnTx/>
                <a:uFillTx/>
                <a:latin typeface="Calibri"/>
                <a:cs typeface="Calibri"/>
              </a:rPr>
              <a:t> </a:t>
            </a:r>
            <a:r>
              <a:rPr kumimoji="0" sz="2800" b="0" i="0" u="none" strike="noStrike" kern="0" cap="none" spc="0" normalizeH="0" baseline="0" noProof="0" dirty="0">
                <a:ln>
                  <a:noFill/>
                </a:ln>
                <a:solidFill>
                  <a:srgbClr val="FFFFFF"/>
                </a:solidFill>
                <a:effectLst/>
                <a:uLnTx/>
                <a:uFillTx/>
                <a:latin typeface="Calibri"/>
                <a:cs typeface="Calibri"/>
              </a:rPr>
              <a:t>Equitability</a:t>
            </a:r>
            <a:r>
              <a:rPr kumimoji="0" sz="2800" b="0" i="0" u="none" strike="noStrike" kern="0" cap="none" spc="175" normalizeH="0" baseline="0" noProof="0" dirty="0">
                <a:ln>
                  <a:noFill/>
                </a:ln>
                <a:solidFill>
                  <a:srgbClr val="FFFFFF"/>
                </a:solidFill>
                <a:effectLst/>
                <a:uLnTx/>
                <a:uFillTx/>
                <a:latin typeface="Calibri"/>
                <a:cs typeface="Calibri"/>
              </a:rPr>
              <a:t> </a:t>
            </a:r>
            <a:r>
              <a:rPr kumimoji="0" sz="2800" b="0" i="0" u="none" strike="noStrike" kern="0" cap="none" spc="-220" normalizeH="0" baseline="0" noProof="0" dirty="0">
                <a:ln>
                  <a:noFill/>
                </a:ln>
                <a:solidFill>
                  <a:srgbClr val="FFFFFF"/>
                </a:solidFill>
                <a:effectLst/>
                <a:uLnTx/>
                <a:uFillTx/>
                <a:latin typeface="Calibri"/>
                <a:cs typeface="Calibri"/>
              </a:rPr>
              <a:t>&amp;</a:t>
            </a:r>
            <a:r>
              <a:rPr kumimoji="0" sz="2800" b="0" i="0" u="none" strike="noStrike" kern="0" cap="none" spc="120" normalizeH="0" baseline="0" noProof="0" dirty="0">
                <a:ln>
                  <a:noFill/>
                </a:ln>
                <a:solidFill>
                  <a:srgbClr val="FFFFFF"/>
                </a:solidFill>
                <a:effectLst/>
                <a:uLnTx/>
                <a:uFillTx/>
                <a:latin typeface="Calibri"/>
                <a:cs typeface="Calibri"/>
              </a:rPr>
              <a:t> </a:t>
            </a:r>
            <a:r>
              <a:rPr kumimoji="0" sz="2800" b="0" i="0" u="none" strike="noStrike" kern="0" cap="none" spc="40" normalizeH="0" baseline="0" noProof="0" dirty="0">
                <a:ln>
                  <a:noFill/>
                </a:ln>
                <a:solidFill>
                  <a:srgbClr val="FFFFFF"/>
                </a:solidFill>
                <a:effectLst/>
                <a:uLnTx/>
                <a:uFillTx/>
                <a:latin typeface="Calibri"/>
                <a:cs typeface="Calibri"/>
              </a:rPr>
              <a:t>Sustainability</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0029" marR="0" lvl="0" indent="-227329" defTabSz="914400" eaLnBrk="1" fontAlgn="auto" latinLnBrk="0" hangingPunct="1">
              <a:lnSpc>
                <a:spcPct val="100000"/>
              </a:lnSpc>
              <a:spcBef>
                <a:spcPts val="320"/>
              </a:spcBef>
              <a:spcAft>
                <a:spcPts val="0"/>
              </a:spcAft>
              <a:buClrTx/>
              <a:buSzTx/>
              <a:buFont typeface="Arial"/>
              <a:buChar char="•"/>
              <a:tabLst>
                <a:tab pos="240029" algn="l"/>
              </a:tabLst>
              <a:defRPr/>
            </a:pPr>
            <a:r>
              <a:rPr kumimoji="0" sz="2800" b="0" i="0" u="none" strike="noStrike" kern="0" cap="none" spc="60" normalizeH="0" baseline="0" noProof="0" dirty="0">
                <a:ln>
                  <a:noFill/>
                </a:ln>
                <a:solidFill>
                  <a:srgbClr val="FFFFFF"/>
                </a:solidFill>
                <a:effectLst/>
                <a:uLnTx/>
                <a:uFillTx/>
                <a:latin typeface="Calibri"/>
                <a:cs typeface="Calibri"/>
              </a:rPr>
              <a:t>Teaching</a:t>
            </a:r>
            <a:r>
              <a:rPr kumimoji="0" sz="2800" b="0" i="0" u="none" strike="noStrike" kern="0" cap="none" spc="150" normalizeH="0" baseline="0" noProof="0" dirty="0">
                <a:ln>
                  <a:noFill/>
                </a:ln>
                <a:solidFill>
                  <a:srgbClr val="FFFFFF"/>
                </a:solidFill>
                <a:effectLst/>
                <a:uLnTx/>
                <a:uFillTx/>
                <a:latin typeface="Calibri"/>
                <a:cs typeface="Calibri"/>
              </a:rPr>
              <a:t> </a:t>
            </a:r>
            <a:r>
              <a:rPr kumimoji="0" sz="2800" b="0" i="0" u="none" strike="noStrike" kern="0" cap="none" spc="0" normalizeH="0" baseline="0" noProof="0" dirty="0">
                <a:ln>
                  <a:noFill/>
                </a:ln>
                <a:solidFill>
                  <a:srgbClr val="FFFFFF"/>
                </a:solidFill>
                <a:effectLst/>
                <a:uLnTx/>
                <a:uFillTx/>
                <a:latin typeface="Calibri"/>
                <a:cs typeface="Calibri"/>
              </a:rPr>
              <a:t>Contract</a:t>
            </a:r>
            <a:r>
              <a:rPr kumimoji="0" sz="2800" b="0" i="0" u="none" strike="noStrike" kern="0" cap="none" spc="165" normalizeH="0" baseline="0" noProof="0" dirty="0">
                <a:ln>
                  <a:noFill/>
                </a:ln>
                <a:solidFill>
                  <a:srgbClr val="FFFFFF"/>
                </a:solidFill>
                <a:effectLst/>
                <a:uLnTx/>
                <a:uFillTx/>
                <a:latin typeface="Calibri"/>
                <a:cs typeface="Calibri"/>
              </a:rPr>
              <a:t> </a:t>
            </a:r>
            <a:r>
              <a:rPr kumimoji="0" sz="2800" b="0" i="0" u="none" strike="noStrike" kern="0" cap="none" spc="0" normalizeH="0" baseline="0" noProof="0" dirty="0">
                <a:ln>
                  <a:noFill/>
                </a:ln>
                <a:solidFill>
                  <a:srgbClr val="FFFFFF"/>
                </a:solidFill>
                <a:effectLst/>
                <a:uLnTx/>
                <a:uFillTx/>
                <a:latin typeface="Calibri"/>
                <a:cs typeface="Calibri"/>
              </a:rPr>
              <a:t>Negotiations</a:t>
            </a:r>
            <a:r>
              <a:rPr kumimoji="0" sz="2800" b="0" i="0" u="none" strike="noStrike" kern="0" cap="none" spc="165" normalizeH="0" baseline="0" noProof="0" dirty="0">
                <a:ln>
                  <a:noFill/>
                </a:ln>
                <a:solidFill>
                  <a:srgbClr val="FFFFFF"/>
                </a:solidFill>
                <a:effectLst/>
                <a:uLnTx/>
                <a:uFillTx/>
                <a:latin typeface="Calibri"/>
                <a:cs typeface="Calibri"/>
              </a:rPr>
              <a:t> </a:t>
            </a:r>
            <a:r>
              <a:rPr kumimoji="0" sz="2800" b="0" i="0" u="none" strike="noStrike" kern="0" cap="none" spc="55" normalizeH="0" baseline="0" noProof="0" dirty="0">
                <a:ln>
                  <a:noFill/>
                </a:ln>
                <a:solidFill>
                  <a:srgbClr val="FFFFFF"/>
                </a:solidFill>
                <a:effectLst/>
                <a:uLnTx/>
                <a:uFillTx/>
                <a:latin typeface="Calibri"/>
                <a:cs typeface="Calibri"/>
              </a:rPr>
              <a:t>and</a:t>
            </a:r>
            <a:r>
              <a:rPr kumimoji="0" sz="2800" b="0" i="0" u="none" strike="noStrike" kern="0" cap="none" spc="135" normalizeH="0" baseline="0" noProof="0" dirty="0">
                <a:ln>
                  <a:noFill/>
                </a:ln>
                <a:solidFill>
                  <a:srgbClr val="FFFFFF"/>
                </a:solidFill>
                <a:effectLst/>
                <a:uLnTx/>
                <a:uFillTx/>
                <a:latin typeface="Calibri"/>
                <a:cs typeface="Calibri"/>
              </a:rPr>
              <a:t> </a:t>
            </a:r>
            <a:r>
              <a:rPr kumimoji="0" sz="2800" b="0" i="0" u="none" strike="noStrike" kern="0" cap="none" spc="-10" normalizeH="0" baseline="0" noProof="0" dirty="0">
                <a:ln>
                  <a:noFill/>
                </a:ln>
                <a:solidFill>
                  <a:srgbClr val="FFFFFF"/>
                </a:solidFill>
                <a:effectLst/>
                <a:uLnTx/>
                <a:uFillTx/>
                <a:latin typeface="Calibri"/>
                <a:cs typeface="Calibri"/>
              </a:rPr>
              <a:t>Contracting</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0029" marR="0" lvl="0" indent="-227329" defTabSz="914400" eaLnBrk="1" fontAlgn="auto" latinLnBrk="0" hangingPunct="1">
              <a:lnSpc>
                <a:spcPts val="3329"/>
              </a:lnSpc>
              <a:spcBef>
                <a:spcPts val="340"/>
              </a:spcBef>
              <a:spcAft>
                <a:spcPts val="0"/>
              </a:spcAft>
              <a:buClrTx/>
              <a:buSzTx/>
              <a:buFont typeface="Arial"/>
              <a:buChar char="•"/>
              <a:tabLst>
                <a:tab pos="240029" algn="l"/>
              </a:tabLst>
              <a:defRPr/>
            </a:pPr>
            <a:r>
              <a:rPr kumimoji="0" sz="2800" b="0" i="0" u="none" strike="noStrike" kern="0" cap="none" spc="0" normalizeH="0" baseline="0" noProof="0" dirty="0">
                <a:ln>
                  <a:noFill/>
                </a:ln>
                <a:solidFill>
                  <a:srgbClr val="FFFFFF"/>
                </a:solidFill>
                <a:effectLst/>
                <a:uLnTx/>
                <a:uFillTx/>
                <a:latin typeface="Calibri"/>
                <a:cs typeface="Calibri"/>
              </a:rPr>
              <a:t>Presenting</a:t>
            </a:r>
            <a:r>
              <a:rPr kumimoji="0" sz="2800" b="0" i="0" u="none" strike="noStrike" kern="0" cap="none" spc="350" normalizeH="0" baseline="0" noProof="0" dirty="0">
                <a:ln>
                  <a:noFill/>
                </a:ln>
                <a:solidFill>
                  <a:srgbClr val="FFFFFF"/>
                </a:solidFill>
                <a:effectLst/>
                <a:uLnTx/>
                <a:uFillTx/>
                <a:latin typeface="Calibri"/>
                <a:cs typeface="Calibri"/>
              </a:rPr>
              <a:t> </a:t>
            </a:r>
            <a:r>
              <a:rPr kumimoji="0" sz="2800" b="0" i="0" u="none" strike="noStrike" kern="0" cap="none" spc="-25" normalizeH="0" baseline="0" noProof="0" dirty="0">
                <a:ln>
                  <a:noFill/>
                </a:ln>
                <a:solidFill>
                  <a:srgbClr val="FFFFFF"/>
                </a:solidFill>
                <a:effectLst/>
                <a:uLnTx/>
                <a:uFillTx/>
                <a:latin typeface="Calibri"/>
                <a:cs typeface="Calibri"/>
              </a:rPr>
              <a:t>to</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697230" marR="0" lvl="1" indent="-227965" defTabSz="914400" eaLnBrk="1" fontAlgn="auto" latinLnBrk="0" hangingPunct="1">
              <a:lnSpc>
                <a:spcPts val="2810"/>
              </a:lnSpc>
              <a:spcBef>
                <a:spcPts val="0"/>
              </a:spcBef>
              <a:spcAft>
                <a:spcPts val="0"/>
              </a:spcAft>
              <a:buClrTx/>
              <a:buSzTx/>
              <a:buFont typeface="Arial"/>
              <a:buChar char="•"/>
              <a:tabLst>
                <a:tab pos="697230" algn="l"/>
              </a:tabLst>
              <a:defRPr/>
            </a:pPr>
            <a:r>
              <a:rPr kumimoji="0" sz="2400" b="0" i="0" u="none" strike="noStrike" kern="0" cap="none" spc="-10" normalizeH="0" baseline="0" noProof="0" dirty="0">
                <a:ln>
                  <a:noFill/>
                </a:ln>
                <a:solidFill>
                  <a:srgbClr val="FFFFFF"/>
                </a:solidFill>
                <a:effectLst/>
                <a:uLnTx/>
                <a:uFillTx/>
                <a:latin typeface="Calibri"/>
                <a:cs typeface="Calibri"/>
              </a:rPr>
              <a:t>Medicaid</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697230" marR="0" lvl="1" indent="-227965" defTabSz="914400" eaLnBrk="1" fontAlgn="auto" latinLnBrk="0" hangingPunct="1">
              <a:lnSpc>
                <a:spcPts val="2810"/>
              </a:lnSpc>
              <a:spcBef>
                <a:spcPts val="0"/>
              </a:spcBef>
              <a:spcAft>
                <a:spcPts val="0"/>
              </a:spcAft>
              <a:buClrTx/>
              <a:buSzTx/>
              <a:buFont typeface="Arial"/>
              <a:buChar char="•"/>
              <a:tabLst>
                <a:tab pos="697230" algn="l"/>
              </a:tabLst>
              <a:defRPr/>
            </a:pPr>
            <a:r>
              <a:rPr kumimoji="0" sz="2400" b="0" i="0" u="none" strike="noStrike" kern="0" cap="none" spc="-10" normalizeH="0" baseline="0" noProof="0" dirty="0">
                <a:ln>
                  <a:noFill/>
                </a:ln>
                <a:solidFill>
                  <a:srgbClr val="FFFFFF"/>
                </a:solidFill>
                <a:effectLst/>
                <a:uLnTx/>
                <a:uFillTx/>
                <a:latin typeface="Calibri"/>
                <a:cs typeface="Calibri"/>
              </a:rPr>
              <a:t>Tricare</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697230" marR="0" lvl="1" indent="-227965" defTabSz="914400" eaLnBrk="1" fontAlgn="auto" latinLnBrk="0" hangingPunct="1">
              <a:lnSpc>
                <a:spcPts val="2800"/>
              </a:lnSpc>
              <a:spcBef>
                <a:spcPts val="0"/>
              </a:spcBef>
              <a:spcAft>
                <a:spcPts val="0"/>
              </a:spcAft>
              <a:buClrTx/>
              <a:buSzTx/>
              <a:buFont typeface="Arial"/>
              <a:buChar char="•"/>
              <a:tabLst>
                <a:tab pos="697230" algn="l"/>
              </a:tabLst>
              <a:defRPr/>
            </a:pPr>
            <a:r>
              <a:rPr kumimoji="0" sz="2400" b="0" i="0" u="none" strike="noStrike" kern="0" cap="none" spc="-10" normalizeH="0" baseline="0" noProof="0" dirty="0">
                <a:ln>
                  <a:noFill/>
                </a:ln>
                <a:solidFill>
                  <a:srgbClr val="FFFFFF"/>
                </a:solidFill>
                <a:effectLst/>
                <a:uLnTx/>
                <a:uFillTx/>
                <a:latin typeface="Calibri"/>
                <a:cs typeface="Calibri"/>
              </a:rPr>
              <a:t>Insurance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697230" marR="0" lvl="1" indent="-227965" defTabSz="914400" eaLnBrk="1" fontAlgn="auto" latinLnBrk="0" hangingPunct="1">
              <a:lnSpc>
                <a:spcPts val="2800"/>
              </a:lnSpc>
              <a:spcBef>
                <a:spcPts val="0"/>
              </a:spcBef>
              <a:spcAft>
                <a:spcPts val="0"/>
              </a:spcAft>
              <a:buClrTx/>
              <a:buSzTx/>
              <a:buFont typeface="Arial"/>
              <a:buChar char="•"/>
              <a:tabLst>
                <a:tab pos="697230" algn="l"/>
              </a:tabLst>
              <a:defRPr/>
            </a:pPr>
            <a:r>
              <a:rPr kumimoji="0" sz="2400" b="0" i="0" u="none" strike="noStrike" kern="0" cap="none" spc="0" normalizeH="0" baseline="0" noProof="0" dirty="0">
                <a:ln>
                  <a:noFill/>
                </a:ln>
                <a:solidFill>
                  <a:srgbClr val="FFFFFF"/>
                </a:solidFill>
                <a:effectLst/>
                <a:uLnTx/>
                <a:uFillTx/>
                <a:latin typeface="Calibri"/>
                <a:cs typeface="Calibri"/>
              </a:rPr>
              <a:t>Health</a:t>
            </a:r>
            <a:r>
              <a:rPr kumimoji="0" sz="2400" b="0" i="0" u="none" strike="noStrike" kern="0" cap="none" spc="25" normalizeH="0" baseline="0" noProof="0" dirty="0">
                <a:ln>
                  <a:noFill/>
                </a:ln>
                <a:solidFill>
                  <a:srgbClr val="FFFFFF"/>
                </a:solidFill>
                <a:effectLst/>
                <a:uLnTx/>
                <a:uFillTx/>
                <a:latin typeface="Calibri"/>
                <a:cs typeface="Calibri"/>
              </a:rPr>
              <a:t> </a:t>
            </a:r>
            <a:r>
              <a:rPr kumimoji="0" sz="2400" b="0" i="0" u="none" strike="noStrike" kern="0" cap="none" spc="70" normalizeH="0" baseline="0" noProof="0" dirty="0">
                <a:ln>
                  <a:noFill/>
                </a:ln>
                <a:solidFill>
                  <a:srgbClr val="FFFFFF"/>
                </a:solidFill>
                <a:effectLst/>
                <a:uLnTx/>
                <a:uFillTx/>
                <a:latin typeface="Calibri"/>
                <a:cs typeface="Calibri"/>
              </a:rPr>
              <a:t>Savings</a:t>
            </a:r>
            <a:r>
              <a:rPr kumimoji="0" sz="2400" b="0" i="0" u="none" strike="noStrike" kern="0" cap="none" spc="45" normalizeH="0" baseline="0" noProof="0" dirty="0">
                <a:ln>
                  <a:noFill/>
                </a:ln>
                <a:solidFill>
                  <a:srgbClr val="FFFFFF"/>
                </a:solidFill>
                <a:effectLst/>
                <a:uLnTx/>
                <a:uFillTx/>
                <a:latin typeface="Calibri"/>
                <a:cs typeface="Calibri"/>
              </a:rPr>
              <a:t> </a:t>
            </a:r>
            <a:r>
              <a:rPr kumimoji="0" sz="2400" b="0" i="0" u="none" strike="noStrike" kern="0" cap="none" spc="60" normalizeH="0" baseline="0" noProof="0" dirty="0">
                <a:ln>
                  <a:noFill/>
                </a:ln>
                <a:solidFill>
                  <a:srgbClr val="FFFFFF"/>
                </a:solidFill>
                <a:effectLst/>
                <a:uLnTx/>
                <a:uFillTx/>
                <a:latin typeface="Calibri"/>
                <a:cs typeface="Calibri"/>
              </a:rPr>
              <a:t>Plan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697230" marR="0" lvl="1" indent="-227965" defTabSz="914400" eaLnBrk="1" fontAlgn="auto" latinLnBrk="0" hangingPunct="1">
              <a:lnSpc>
                <a:spcPts val="2845"/>
              </a:lnSpc>
              <a:spcBef>
                <a:spcPts val="0"/>
              </a:spcBef>
              <a:spcAft>
                <a:spcPts val="0"/>
              </a:spcAft>
              <a:buClrTx/>
              <a:buSzTx/>
              <a:buFont typeface="Arial"/>
              <a:buChar char="•"/>
              <a:tabLst>
                <a:tab pos="697230" algn="l"/>
              </a:tabLst>
              <a:defRPr/>
            </a:pPr>
            <a:r>
              <a:rPr kumimoji="0" sz="2400" b="0" i="0" u="none" strike="noStrike" kern="0" cap="none" spc="0" normalizeH="0" baseline="0" noProof="0" dirty="0">
                <a:ln>
                  <a:noFill/>
                </a:ln>
                <a:solidFill>
                  <a:srgbClr val="FFFFFF"/>
                </a:solidFill>
                <a:effectLst/>
                <a:uLnTx/>
                <a:uFillTx/>
                <a:latin typeface="Calibri"/>
                <a:cs typeface="Calibri"/>
              </a:rPr>
              <a:t>Federal</a:t>
            </a:r>
            <a:r>
              <a:rPr kumimoji="0" sz="2400" b="0" i="0" u="none" strike="noStrike" kern="0" cap="none" spc="75" normalizeH="0" baseline="0" noProof="0" dirty="0">
                <a:ln>
                  <a:noFill/>
                </a:ln>
                <a:solidFill>
                  <a:srgbClr val="FFFFFF"/>
                </a:solidFill>
                <a:effectLst/>
                <a:uLnTx/>
                <a:uFillTx/>
                <a:latin typeface="Calibri"/>
                <a:cs typeface="Calibri"/>
              </a:rPr>
              <a:t> </a:t>
            </a:r>
            <a:r>
              <a:rPr kumimoji="0" sz="2400" b="0" i="0" u="none" strike="noStrike" kern="0" cap="none" spc="-190" normalizeH="0" baseline="0" noProof="0" dirty="0">
                <a:ln>
                  <a:noFill/>
                </a:ln>
                <a:solidFill>
                  <a:srgbClr val="FFFFFF"/>
                </a:solidFill>
                <a:effectLst/>
                <a:uLnTx/>
                <a:uFillTx/>
                <a:latin typeface="Calibri"/>
                <a:cs typeface="Calibri"/>
              </a:rPr>
              <a:t>&amp;</a:t>
            </a:r>
            <a:r>
              <a:rPr kumimoji="0" sz="2400" b="0" i="0" u="none" strike="noStrike" kern="0" cap="none" spc="65" normalizeH="0" baseline="0" noProof="0" dirty="0">
                <a:ln>
                  <a:noFill/>
                </a:ln>
                <a:solidFill>
                  <a:srgbClr val="FFFFFF"/>
                </a:solidFill>
                <a:effectLst/>
                <a:uLnTx/>
                <a:uFillTx/>
                <a:latin typeface="Calibri"/>
                <a:cs typeface="Calibri"/>
              </a:rPr>
              <a:t> </a:t>
            </a:r>
            <a:r>
              <a:rPr kumimoji="0" sz="2400" b="0" i="0" u="none" strike="noStrike" kern="0" cap="none" spc="0" normalizeH="0" baseline="0" noProof="0" dirty="0">
                <a:ln>
                  <a:noFill/>
                </a:ln>
                <a:solidFill>
                  <a:srgbClr val="FFFFFF"/>
                </a:solidFill>
                <a:effectLst/>
                <a:uLnTx/>
                <a:uFillTx/>
                <a:latin typeface="Calibri"/>
                <a:cs typeface="Calibri"/>
              </a:rPr>
              <a:t>State</a:t>
            </a:r>
            <a:r>
              <a:rPr kumimoji="0" sz="2400" b="0" i="0" u="none" strike="noStrike" kern="0" cap="none" spc="80" normalizeH="0" baseline="0" noProof="0" dirty="0">
                <a:ln>
                  <a:noFill/>
                </a:ln>
                <a:solidFill>
                  <a:srgbClr val="FFFFFF"/>
                </a:solidFill>
                <a:effectLst/>
                <a:uLnTx/>
                <a:uFillTx/>
                <a:latin typeface="Calibri"/>
                <a:cs typeface="Calibri"/>
              </a:rPr>
              <a:t> </a:t>
            </a:r>
            <a:r>
              <a:rPr kumimoji="0" sz="2400" b="0" i="0" u="none" strike="noStrike" kern="0" cap="none" spc="-10" normalizeH="0" baseline="0" noProof="0" dirty="0">
                <a:ln>
                  <a:noFill/>
                </a:ln>
                <a:solidFill>
                  <a:srgbClr val="FFFFFF"/>
                </a:solidFill>
                <a:effectLst/>
                <a:uLnTx/>
                <a:uFillTx/>
                <a:latin typeface="Calibri"/>
                <a:cs typeface="Calibri"/>
              </a:rPr>
              <a:t>Representative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0029" marR="0" lvl="0" indent="-227329" defTabSz="914400" eaLnBrk="1" fontAlgn="auto" latinLnBrk="0" hangingPunct="1">
              <a:lnSpc>
                <a:spcPct val="100000"/>
              </a:lnSpc>
              <a:spcBef>
                <a:spcPts val="309"/>
              </a:spcBef>
              <a:spcAft>
                <a:spcPts val="0"/>
              </a:spcAft>
              <a:buClrTx/>
              <a:buSzTx/>
              <a:buFont typeface="Arial"/>
              <a:buChar char="•"/>
              <a:tabLst>
                <a:tab pos="240029" algn="l"/>
              </a:tabLst>
              <a:defRPr/>
            </a:pPr>
            <a:r>
              <a:rPr kumimoji="0" sz="2800" b="0" i="0" u="none" strike="noStrike" kern="0" cap="none" spc="0" normalizeH="0" baseline="0" noProof="0" dirty="0">
                <a:ln>
                  <a:noFill/>
                </a:ln>
                <a:solidFill>
                  <a:srgbClr val="FFFFFF"/>
                </a:solidFill>
                <a:effectLst/>
                <a:uLnTx/>
                <a:uFillTx/>
                <a:latin typeface="Calibri"/>
                <a:cs typeface="Calibri"/>
              </a:rPr>
              <a:t>Developing</a:t>
            </a:r>
            <a:r>
              <a:rPr kumimoji="0" sz="2800" b="0" i="0" u="none" strike="noStrike" kern="0" cap="none" spc="204" normalizeH="0" baseline="0" noProof="0" dirty="0">
                <a:ln>
                  <a:noFill/>
                </a:ln>
                <a:solidFill>
                  <a:srgbClr val="FFFFFF"/>
                </a:solidFill>
                <a:effectLst/>
                <a:uLnTx/>
                <a:uFillTx/>
                <a:latin typeface="Calibri"/>
                <a:cs typeface="Calibri"/>
              </a:rPr>
              <a:t> </a:t>
            </a:r>
            <a:r>
              <a:rPr kumimoji="0" sz="2800" b="0" i="0" u="none" strike="noStrike" kern="0" cap="none" spc="55" normalizeH="0" baseline="0" noProof="0" dirty="0">
                <a:ln>
                  <a:noFill/>
                </a:ln>
                <a:solidFill>
                  <a:srgbClr val="FFFFFF"/>
                </a:solidFill>
                <a:effectLst/>
                <a:uLnTx/>
                <a:uFillTx/>
                <a:latin typeface="Calibri"/>
                <a:cs typeface="Calibri"/>
              </a:rPr>
              <a:t>Sustainability</a:t>
            </a:r>
            <a:r>
              <a:rPr kumimoji="0" sz="2800" b="0" i="0" u="none" strike="noStrike" kern="0" cap="none" spc="254" normalizeH="0" baseline="0" noProof="0" dirty="0">
                <a:ln>
                  <a:noFill/>
                </a:ln>
                <a:solidFill>
                  <a:srgbClr val="FFFFFF"/>
                </a:solidFill>
                <a:effectLst/>
                <a:uLnTx/>
                <a:uFillTx/>
                <a:latin typeface="Calibri"/>
                <a:cs typeface="Calibri"/>
              </a:rPr>
              <a:t> </a:t>
            </a:r>
            <a:r>
              <a:rPr kumimoji="0" sz="2800" b="0" i="0" u="none" strike="noStrike" kern="0" cap="none" spc="0" normalizeH="0" baseline="0" noProof="0" dirty="0">
                <a:ln>
                  <a:noFill/>
                </a:ln>
                <a:solidFill>
                  <a:srgbClr val="FFFFFF"/>
                </a:solidFill>
                <a:effectLst/>
                <a:uLnTx/>
                <a:uFillTx/>
                <a:latin typeface="Calibri"/>
                <a:cs typeface="Calibri"/>
              </a:rPr>
              <a:t>Position</a:t>
            </a:r>
            <a:r>
              <a:rPr kumimoji="0" sz="2800" b="0" i="0" u="none" strike="noStrike" kern="0" cap="none" spc="180" normalizeH="0" baseline="0" noProof="0" dirty="0">
                <a:ln>
                  <a:noFill/>
                </a:ln>
                <a:solidFill>
                  <a:srgbClr val="FFFFFF"/>
                </a:solidFill>
                <a:effectLst/>
                <a:uLnTx/>
                <a:uFillTx/>
                <a:latin typeface="Calibri"/>
                <a:cs typeface="Calibri"/>
              </a:rPr>
              <a:t> </a:t>
            </a:r>
            <a:r>
              <a:rPr kumimoji="0" sz="2800" b="0" i="0" u="none" strike="noStrike" kern="0" cap="none" spc="-10" normalizeH="0" baseline="0" noProof="0" dirty="0">
                <a:ln>
                  <a:noFill/>
                </a:ln>
                <a:solidFill>
                  <a:srgbClr val="FFFFFF"/>
                </a:solidFill>
                <a:effectLst/>
                <a:uLnTx/>
                <a:uFillTx/>
                <a:latin typeface="Calibri"/>
                <a:cs typeface="Calibri"/>
              </a:rPr>
              <a:t>Statement(s)</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490"/>
              </a:spcBef>
              <a:spcAft>
                <a:spcPts val="0"/>
              </a:spcAft>
              <a:buClrTx/>
              <a:buSzTx/>
              <a:buFontTx/>
              <a:buNone/>
              <a:tabLst/>
              <a:defRPr/>
            </a:pPr>
            <a:endParaRPr kumimoji="0" sz="28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3200" b="0" i="1" u="none" strike="noStrike" kern="0" cap="none" spc="0" normalizeH="0" baseline="0" noProof="0" dirty="0">
                <a:ln>
                  <a:noFill/>
                </a:ln>
                <a:solidFill>
                  <a:srgbClr val="FFFFFF"/>
                </a:solidFill>
                <a:effectLst/>
                <a:uLnTx/>
                <a:uFillTx/>
                <a:latin typeface="Calibri"/>
                <a:cs typeface="Calibri"/>
              </a:rPr>
              <a:t>Changing</a:t>
            </a:r>
            <a:r>
              <a:rPr kumimoji="0" sz="3200" b="0" i="1" u="none" strike="noStrike" kern="0" cap="none" spc="-65" normalizeH="0" baseline="0" noProof="0" dirty="0">
                <a:ln>
                  <a:noFill/>
                </a:ln>
                <a:solidFill>
                  <a:srgbClr val="FFFFFF"/>
                </a:solidFill>
                <a:effectLst/>
                <a:uLnTx/>
                <a:uFillTx/>
                <a:latin typeface="Calibri"/>
                <a:cs typeface="Calibri"/>
              </a:rPr>
              <a:t> </a:t>
            </a:r>
            <a:r>
              <a:rPr kumimoji="0" sz="3200" b="0" i="1" u="none" strike="noStrike" kern="0" cap="none" spc="0" normalizeH="0" baseline="0" noProof="0" dirty="0">
                <a:ln>
                  <a:noFill/>
                </a:ln>
                <a:solidFill>
                  <a:srgbClr val="FFFFFF"/>
                </a:solidFill>
                <a:effectLst/>
                <a:uLnTx/>
                <a:uFillTx/>
                <a:latin typeface="Calibri"/>
                <a:cs typeface="Calibri"/>
              </a:rPr>
              <a:t>the</a:t>
            </a:r>
            <a:r>
              <a:rPr kumimoji="0" sz="3200" b="0" i="1" u="none" strike="noStrike" kern="0" cap="none" spc="-55" normalizeH="0" baseline="0" noProof="0" dirty="0">
                <a:ln>
                  <a:noFill/>
                </a:ln>
                <a:solidFill>
                  <a:srgbClr val="FFFFFF"/>
                </a:solidFill>
                <a:effectLst/>
                <a:uLnTx/>
                <a:uFillTx/>
                <a:latin typeface="Calibri"/>
                <a:cs typeface="Calibri"/>
              </a:rPr>
              <a:t> </a:t>
            </a:r>
            <a:r>
              <a:rPr kumimoji="0" sz="3200" b="0" i="1" u="none" strike="noStrike" kern="0" cap="none" spc="0" normalizeH="0" baseline="0" noProof="0" dirty="0">
                <a:ln>
                  <a:noFill/>
                </a:ln>
                <a:solidFill>
                  <a:srgbClr val="FFFFFF"/>
                </a:solidFill>
                <a:effectLst/>
                <a:uLnTx/>
                <a:uFillTx/>
                <a:latin typeface="Calibri"/>
                <a:cs typeface="Calibri"/>
              </a:rPr>
              <a:t>Industry</a:t>
            </a:r>
            <a:r>
              <a:rPr kumimoji="0" sz="3200" b="0" i="1" u="none" strike="noStrike" kern="0" cap="none" spc="-35" normalizeH="0" baseline="0" noProof="0" dirty="0">
                <a:ln>
                  <a:noFill/>
                </a:ln>
                <a:solidFill>
                  <a:srgbClr val="FFFFFF"/>
                </a:solidFill>
                <a:effectLst/>
                <a:uLnTx/>
                <a:uFillTx/>
                <a:latin typeface="Calibri"/>
                <a:cs typeface="Calibri"/>
              </a:rPr>
              <a:t> </a:t>
            </a:r>
            <a:r>
              <a:rPr kumimoji="0" sz="3200" b="0" i="1" u="none" strike="noStrike" kern="0" cap="none" spc="45" normalizeH="0" baseline="0" noProof="0" dirty="0">
                <a:ln>
                  <a:noFill/>
                </a:ln>
                <a:solidFill>
                  <a:srgbClr val="FFFFFF"/>
                </a:solidFill>
                <a:effectLst/>
                <a:uLnTx/>
                <a:uFillTx/>
                <a:latin typeface="Calibri"/>
                <a:cs typeface="Calibri"/>
              </a:rPr>
              <a:t>Standard</a:t>
            </a:r>
            <a:r>
              <a:rPr kumimoji="0" sz="3200" b="0" i="1" u="none" strike="noStrike" kern="0" cap="none" spc="-50" normalizeH="0" baseline="0" noProof="0" dirty="0">
                <a:ln>
                  <a:noFill/>
                </a:ln>
                <a:solidFill>
                  <a:srgbClr val="FFFFFF"/>
                </a:solidFill>
                <a:effectLst/>
                <a:uLnTx/>
                <a:uFillTx/>
                <a:latin typeface="Calibri"/>
                <a:cs typeface="Calibri"/>
              </a:rPr>
              <a:t> </a:t>
            </a:r>
            <a:r>
              <a:rPr kumimoji="0" sz="3200" b="0" i="1" u="none" strike="noStrike" kern="0" cap="none" spc="-380" normalizeH="0" baseline="0" noProof="0" dirty="0">
                <a:ln>
                  <a:noFill/>
                </a:ln>
                <a:solidFill>
                  <a:srgbClr val="FFFFFF"/>
                </a:solidFill>
                <a:effectLst/>
                <a:uLnTx/>
                <a:uFillTx/>
                <a:latin typeface="Calibri"/>
                <a:cs typeface="Calibri"/>
              </a:rPr>
              <a:t>&amp;</a:t>
            </a:r>
            <a:endParaRPr kumimoji="0" sz="3200" b="0" i="0" u="none" strike="noStrike" kern="0" cap="none" spc="0" normalizeH="0" baseline="0" noProof="0">
              <a:ln>
                <a:noFill/>
              </a:ln>
              <a:solidFill>
                <a:sysClr val="windowText" lastClr="000000"/>
              </a:solidFill>
              <a:effectLst/>
              <a:uLnTx/>
              <a:uFillTx/>
              <a:latin typeface="Calibri"/>
              <a:cs typeface="Calibri"/>
            </a:endParaRPr>
          </a:p>
          <a:p>
            <a:pPr marL="4533265" marR="0" lvl="0" indent="0" defTabSz="914400" eaLnBrk="1" fontAlgn="auto" latinLnBrk="0" hangingPunct="1">
              <a:lnSpc>
                <a:spcPct val="100000"/>
              </a:lnSpc>
              <a:spcBef>
                <a:spcPts val="229"/>
              </a:spcBef>
              <a:spcAft>
                <a:spcPts val="0"/>
              </a:spcAft>
              <a:buClrTx/>
              <a:buSzTx/>
              <a:buFontTx/>
              <a:buNone/>
              <a:tabLst/>
              <a:defRPr/>
            </a:pPr>
            <a:r>
              <a:rPr kumimoji="0" sz="3200" b="0" i="1" u="none" strike="noStrike" kern="0" cap="none" spc="0" normalizeH="0" baseline="0" noProof="0" dirty="0">
                <a:ln>
                  <a:noFill/>
                </a:ln>
                <a:solidFill>
                  <a:srgbClr val="FFFFFF"/>
                </a:solidFill>
                <a:effectLst/>
                <a:uLnTx/>
                <a:uFillTx/>
                <a:latin typeface="Calibri"/>
                <a:cs typeface="Calibri"/>
              </a:rPr>
              <a:t>Setting</a:t>
            </a:r>
            <a:r>
              <a:rPr kumimoji="0" sz="3200" b="0" i="1" u="none" strike="noStrike" kern="0" cap="none" spc="-50" normalizeH="0" baseline="0" noProof="0" dirty="0">
                <a:ln>
                  <a:noFill/>
                </a:ln>
                <a:solidFill>
                  <a:srgbClr val="FFFFFF"/>
                </a:solidFill>
                <a:effectLst/>
                <a:uLnTx/>
                <a:uFillTx/>
                <a:latin typeface="Calibri"/>
                <a:cs typeface="Calibri"/>
              </a:rPr>
              <a:t> </a:t>
            </a:r>
            <a:r>
              <a:rPr kumimoji="0" sz="3200" b="0" i="1" u="none" strike="noStrike" kern="0" cap="none" spc="0" normalizeH="0" baseline="0" noProof="0" dirty="0">
                <a:ln>
                  <a:noFill/>
                </a:ln>
                <a:solidFill>
                  <a:srgbClr val="FFFFFF"/>
                </a:solidFill>
                <a:effectLst/>
                <a:uLnTx/>
                <a:uFillTx/>
                <a:latin typeface="Calibri"/>
                <a:cs typeface="Calibri"/>
              </a:rPr>
              <a:t>the</a:t>
            </a:r>
            <a:r>
              <a:rPr kumimoji="0" sz="3200" b="0" i="1" u="none" strike="noStrike" kern="0" cap="none" spc="-45" normalizeH="0" baseline="0" noProof="0" dirty="0">
                <a:ln>
                  <a:noFill/>
                </a:ln>
                <a:solidFill>
                  <a:srgbClr val="FFFFFF"/>
                </a:solidFill>
                <a:effectLst/>
                <a:uLnTx/>
                <a:uFillTx/>
                <a:latin typeface="Calibri"/>
                <a:cs typeface="Calibri"/>
              </a:rPr>
              <a:t> </a:t>
            </a:r>
            <a:r>
              <a:rPr kumimoji="0" sz="3200" b="0" i="1" u="none" strike="noStrike" kern="0" cap="none" spc="0" normalizeH="0" baseline="0" noProof="0" dirty="0">
                <a:ln>
                  <a:noFill/>
                </a:ln>
                <a:solidFill>
                  <a:srgbClr val="FFFFFF"/>
                </a:solidFill>
                <a:effectLst/>
                <a:uLnTx/>
                <a:uFillTx/>
                <a:latin typeface="Calibri"/>
                <a:cs typeface="Calibri"/>
              </a:rPr>
              <a:t>Industry</a:t>
            </a:r>
            <a:r>
              <a:rPr kumimoji="0" sz="3200" b="0" i="1" u="none" strike="noStrike" kern="0" cap="none" spc="-25" normalizeH="0" baseline="0" noProof="0" dirty="0">
                <a:ln>
                  <a:noFill/>
                </a:ln>
                <a:solidFill>
                  <a:srgbClr val="FFFFFF"/>
                </a:solidFill>
                <a:effectLst/>
                <a:uLnTx/>
                <a:uFillTx/>
                <a:latin typeface="Calibri"/>
                <a:cs typeface="Calibri"/>
              </a:rPr>
              <a:t> </a:t>
            </a:r>
            <a:r>
              <a:rPr kumimoji="0" sz="3200" b="0" i="1" u="none" strike="noStrike" kern="0" cap="none" spc="-10" normalizeH="0" baseline="0" noProof="0" dirty="0">
                <a:ln>
                  <a:noFill/>
                </a:ln>
                <a:solidFill>
                  <a:srgbClr val="FFFFFF"/>
                </a:solidFill>
                <a:effectLst/>
                <a:uLnTx/>
                <a:uFillTx/>
                <a:latin typeface="Calibri"/>
                <a:cs typeface="Calibri"/>
              </a:rPr>
              <a:t>Standard</a:t>
            </a:r>
            <a:endParaRPr kumimoji="0" sz="32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6202679" y="2337816"/>
            <a:ext cx="5586983" cy="1850136"/>
          </a:xfrm>
          <a:prstGeom prst="rect">
            <a:avLst/>
          </a:prstGeo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9713976" y="112776"/>
            <a:ext cx="2385059" cy="1844039"/>
          </a:xfrm>
          <a:prstGeom prst="rect">
            <a:avLst/>
          </a:prstGeom>
        </p:spPr>
      </p:pic>
      <p:sp>
        <p:nvSpPr>
          <p:cNvPr id="3" name="object 3"/>
          <p:cNvSpPr txBox="1">
            <a:spLocks noGrp="1"/>
          </p:cNvSpPr>
          <p:nvPr>
            <p:ph type="title"/>
          </p:nvPr>
        </p:nvSpPr>
        <p:spPr>
          <a:prstGeom prst="rect">
            <a:avLst/>
          </a:prstGeom>
        </p:spPr>
        <p:txBody>
          <a:bodyPr vert="horz" wrap="square" lIns="0" tIns="95377" rIns="0" bIns="0" rtlCol="0">
            <a:spAutoFit/>
          </a:bodyPr>
          <a:lstStyle/>
          <a:p>
            <a:pPr marL="114300">
              <a:lnSpc>
                <a:spcPct val="100000"/>
              </a:lnSpc>
              <a:spcBef>
                <a:spcPts val="105"/>
              </a:spcBef>
            </a:pPr>
            <a:r>
              <a:rPr spc="50" dirty="0"/>
              <a:t>How</a:t>
            </a:r>
            <a:r>
              <a:rPr spc="-90" dirty="0"/>
              <a:t> </a:t>
            </a:r>
            <a:r>
              <a:rPr dirty="0"/>
              <a:t>to</a:t>
            </a:r>
            <a:r>
              <a:rPr spc="-85" dirty="0"/>
              <a:t> </a:t>
            </a:r>
            <a:r>
              <a:rPr spc="65" dirty="0"/>
              <a:t>support</a:t>
            </a:r>
            <a:r>
              <a:rPr spc="-130" dirty="0"/>
              <a:t> </a:t>
            </a:r>
            <a:r>
              <a:rPr spc="65" dirty="0"/>
              <a:t>Birth</a:t>
            </a:r>
            <a:r>
              <a:rPr spc="-90" dirty="0"/>
              <a:t> </a:t>
            </a:r>
            <a:r>
              <a:rPr spc="-10" dirty="0"/>
              <a:t>Centers</a:t>
            </a:r>
          </a:p>
        </p:txBody>
      </p:sp>
      <p:sp>
        <p:nvSpPr>
          <p:cNvPr id="4" name="object 4"/>
          <p:cNvSpPr txBox="1">
            <a:spLocks noGrp="1"/>
          </p:cNvSpPr>
          <p:nvPr>
            <p:ph type="body" idx="1"/>
          </p:nvPr>
        </p:nvSpPr>
        <p:spPr>
          <a:prstGeom prst="rect">
            <a:avLst/>
          </a:prstGeom>
        </p:spPr>
        <p:txBody>
          <a:bodyPr vert="horz" wrap="square" lIns="0" tIns="85725" rIns="0" bIns="0" rtlCol="0">
            <a:spAutoFit/>
          </a:bodyPr>
          <a:lstStyle/>
          <a:p>
            <a:pPr marL="355600" marR="77470" indent="-342900">
              <a:lnSpc>
                <a:spcPct val="80000"/>
              </a:lnSpc>
              <a:spcBef>
                <a:spcPts val="675"/>
              </a:spcBef>
              <a:buSzPct val="41666"/>
              <a:buFont typeface="Symbol"/>
              <a:buChar char=""/>
              <a:tabLst>
                <a:tab pos="355600" algn="l"/>
              </a:tabLst>
            </a:pPr>
            <a:r>
              <a:rPr dirty="0"/>
              <a:t>Full</a:t>
            </a:r>
            <a:r>
              <a:rPr spc="-40" dirty="0"/>
              <a:t> </a:t>
            </a:r>
            <a:r>
              <a:rPr spc="-10" dirty="0"/>
              <a:t>implementation</a:t>
            </a:r>
            <a:r>
              <a:rPr spc="-55" dirty="0"/>
              <a:t> </a:t>
            </a:r>
            <a:r>
              <a:rPr dirty="0"/>
              <a:t>of</a:t>
            </a:r>
            <a:r>
              <a:rPr spc="-30" dirty="0"/>
              <a:t> </a:t>
            </a:r>
            <a:r>
              <a:rPr dirty="0"/>
              <a:t>section</a:t>
            </a:r>
            <a:r>
              <a:rPr spc="-50" dirty="0"/>
              <a:t> </a:t>
            </a:r>
            <a:r>
              <a:rPr dirty="0"/>
              <a:t>2706</a:t>
            </a:r>
            <a:r>
              <a:rPr spc="-30" dirty="0"/>
              <a:t> </a:t>
            </a:r>
            <a:r>
              <a:rPr dirty="0"/>
              <a:t>of</a:t>
            </a:r>
            <a:r>
              <a:rPr spc="-30" dirty="0"/>
              <a:t> </a:t>
            </a:r>
            <a:r>
              <a:rPr dirty="0"/>
              <a:t>the</a:t>
            </a:r>
            <a:r>
              <a:rPr spc="-25" dirty="0"/>
              <a:t> </a:t>
            </a:r>
            <a:r>
              <a:rPr dirty="0"/>
              <a:t>ACA</a:t>
            </a:r>
            <a:r>
              <a:rPr spc="-45" dirty="0"/>
              <a:t> </a:t>
            </a:r>
            <a:r>
              <a:rPr dirty="0"/>
              <a:t>which</a:t>
            </a:r>
            <a:r>
              <a:rPr spc="-40" dirty="0"/>
              <a:t> </a:t>
            </a:r>
            <a:r>
              <a:rPr dirty="0"/>
              <a:t>details</a:t>
            </a:r>
            <a:r>
              <a:rPr spc="-35" dirty="0"/>
              <a:t> </a:t>
            </a:r>
            <a:r>
              <a:rPr dirty="0"/>
              <a:t>inclusion</a:t>
            </a:r>
            <a:r>
              <a:rPr spc="-45" dirty="0"/>
              <a:t> </a:t>
            </a:r>
            <a:r>
              <a:rPr spc="-25" dirty="0"/>
              <a:t>and </a:t>
            </a:r>
            <a:r>
              <a:rPr spc="-20" dirty="0"/>
              <a:t>reimbursement</a:t>
            </a:r>
            <a:r>
              <a:rPr spc="-60" dirty="0"/>
              <a:t> </a:t>
            </a:r>
            <a:r>
              <a:rPr dirty="0"/>
              <a:t>without</a:t>
            </a:r>
            <a:r>
              <a:rPr spc="-40" dirty="0"/>
              <a:t> </a:t>
            </a:r>
            <a:r>
              <a:rPr dirty="0"/>
              <a:t>discrimination</a:t>
            </a:r>
            <a:r>
              <a:rPr spc="-65" dirty="0"/>
              <a:t> </a:t>
            </a:r>
            <a:r>
              <a:rPr dirty="0"/>
              <a:t>of</a:t>
            </a:r>
            <a:r>
              <a:rPr spc="-40" dirty="0"/>
              <a:t> </a:t>
            </a:r>
            <a:r>
              <a:rPr dirty="0"/>
              <a:t>all</a:t>
            </a:r>
            <a:r>
              <a:rPr spc="-30" dirty="0"/>
              <a:t> </a:t>
            </a:r>
            <a:r>
              <a:rPr dirty="0"/>
              <a:t>licensed</a:t>
            </a:r>
            <a:r>
              <a:rPr spc="-45" dirty="0"/>
              <a:t> </a:t>
            </a:r>
            <a:r>
              <a:rPr dirty="0"/>
              <a:t>birth</a:t>
            </a:r>
            <a:r>
              <a:rPr spc="-40" dirty="0"/>
              <a:t> </a:t>
            </a:r>
            <a:r>
              <a:rPr spc="-10" dirty="0"/>
              <a:t>attendant</a:t>
            </a:r>
            <a:r>
              <a:rPr spc="-45" dirty="0"/>
              <a:t> </a:t>
            </a:r>
            <a:r>
              <a:rPr dirty="0"/>
              <a:t>types,</a:t>
            </a:r>
            <a:r>
              <a:rPr spc="-45" dirty="0"/>
              <a:t> </a:t>
            </a:r>
            <a:r>
              <a:rPr spc="-10" dirty="0"/>
              <a:t>including </a:t>
            </a:r>
            <a:r>
              <a:rPr dirty="0"/>
              <a:t>MD,</a:t>
            </a:r>
            <a:r>
              <a:rPr spc="-60" dirty="0"/>
              <a:t> </a:t>
            </a:r>
            <a:r>
              <a:rPr dirty="0"/>
              <a:t>DO,</a:t>
            </a:r>
            <a:r>
              <a:rPr spc="-45" dirty="0"/>
              <a:t> </a:t>
            </a:r>
            <a:r>
              <a:rPr dirty="0"/>
              <a:t>ND,</a:t>
            </a:r>
            <a:r>
              <a:rPr spc="-40" dirty="0"/>
              <a:t> </a:t>
            </a:r>
            <a:r>
              <a:rPr dirty="0"/>
              <a:t>DC,</a:t>
            </a:r>
            <a:r>
              <a:rPr spc="-60" dirty="0"/>
              <a:t> </a:t>
            </a:r>
            <a:r>
              <a:rPr dirty="0"/>
              <a:t>CNM,</a:t>
            </a:r>
            <a:r>
              <a:rPr spc="-60" dirty="0"/>
              <a:t> </a:t>
            </a:r>
            <a:r>
              <a:rPr dirty="0"/>
              <a:t>LM,</a:t>
            </a:r>
            <a:r>
              <a:rPr spc="-45" dirty="0"/>
              <a:t> </a:t>
            </a:r>
            <a:r>
              <a:rPr dirty="0"/>
              <a:t>CPM,</a:t>
            </a:r>
            <a:r>
              <a:rPr spc="-60" dirty="0"/>
              <a:t> </a:t>
            </a:r>
            <a:r>
              <a:rPr dirty="0"/>
              <a:t>by</a:t>
            </a:r>
            <a:r>
              <a:rPr spc="-55" dirty="0"/>
              <a:t> </a:t>
            </a:r>
            <a:r>
              <a:rPr dirty="0"/>
              <a:t>every</a:t>
            </a:r>
            <a:r>
              <a:rPr spc="-50" dirty="0"/>
              <a:t> </a:t>
            </a:r>
            <a:r>
              <a:rPr dirty="0"/>
              <a:t>insurance</a:t>
            </a:r>
            <a:r>
              <a:rPr spc="-55" dirty="0"/>
              <a:t> </a:t>
            </a:r>
            <a:r>
              <a:rPr dirty="0"/>
              <a:t>plan,</a:t>
            </a:r>
            <a:r>
              <a:rPr spc="-45" dirty="0"/>
              <a:t> </a:t>
            </a:r>
            <a:r>
              <a:rPr dirty="0"/>
              <a:t>public</a:t>
            </a:r>
            <a:r>
              <a:rPr spc="-55" dirty="0"/>
              <a:t> </a:t>
            </a:r>
            <a:r>
              <a:rPr dirty="0"/>
              <a:t>or</a:t>
            </a:r>
            <a:r>
              <a:rPr spc="-55" dirty="0"/>
              <a:t> </a:t>
            </a:r>
            <a:r>
              <a:rPr spc="-10" dirty="0"/>
              <a:t>private,</a:t>
            </a:r>
            <a:r>
              <a:rPr spc="-40" dirty="0"/>
              <a:t> </a:t>
            </a:r>
            <a:r>
              <a:rPr spc="-20" dirty="0"/>
              <a:t>that </a:t>
            </a:r>
            <a:r>
              <a:rPr spc="-10" dirty="0"/>
              <a:t>receives</a:t>
            </a:r>
            <a:r>
              <a:rPr spc="-70" dirty="0"/>
              <a:t> </a:t>
            </a:r>
            <a:r>
              <a:rPr spc="-10" dirty="0"/>
              <a:t>federal</a:t>
            </a:r>
            <a:r>
              <a:rPr spc="-55" dirty="0"/>
              <a:t> </a:t>
            </a:r>
            <a:r>
              <a:rPr dirty="0"/>
              <a:t>dollars</a:t>
            </a:r>
            <a:r>
              <a:rPr spc="-75" dirty="0"/>
              <a:t> </a:t>
            </a:r>
            <a:r>
              <a:rPr dirty="0"/>
              <a:t>in</a:t>
            </a:r>
            <a:r>
              <a:rPr spc="-65" dirty="0"/>
              <a:t> </a:t>
            </a:r>
            <a:r>
              <a:rPr dirty="0"/>
              <a:t>any</a:t>
            </a:r>
            <a:r>
              <a:rPr spc="-65" dirty="0"/>
              <a:t> </a:t>
            </a:r>
            <a:r>
              <a:rPr spc="-10" dirty="0"/>
              <a:t>form.</a:t>
            </a:r>
          </a:p>
          <a:p>
            <a:pPr marL="355600" marR="427355" indent="-342900">
              <a:lnSpc>
                <a:spcPts val="2300"/>
              </a:lnSpc>
              <a:spcBef>
                <a:spcPts val="2285"/>
              </a:spcBef>
              <a:buSzPct val="41666"/>
              <a:buFont typeface="Symbol"/>
              <a:buChar char=""/>
              <a:tabLst>
                <a:tab pos="355600" algn="l"/>
              </a:tabLst>
            </a:pPr>
            <a:r>
              <a:rPr dirty="0"/>
              <a:t>Full</a:t>
            </a:r>
            <a:r>
              <a:rPr spc="-40" dirty="0"/>
              <a:t> </a:t>
            </a:r>
            <a:r>
              <a:rPr dirty="0"/>
              <a:t>and</a:t>
            </a:r>
            <a:r>
              <a:rPr spc="-30" dirty="0"/>
              <a:t> </a:t>
            </a:r>
            <a:r>
              <a:rPr spc="-10" dirty="0"/>
              <a:t>sustainable</a:t>
            </a:r>
            <a:r>
              <a:rPr spc="-35" dirty="0"/>
              <a:t> </a:t>
            </a:r>
            <a:r>
              <a:rPr spc="-10" dirty="0"/>
              <a:t>implementation</a:t>
            </a:r>
            <a:r>
              <a:rPr spc="-55" dirty="0"/>
              <a:t> </a:t>
            </a:r>
            <a:r>
              <a:rPr dirty="0"/>
              <a:t>of</a:t>
            </a:r>
            <a:r>
              <a:rPr spc="-30" dirty="0"/>
              <a:t> </a:t>
            </a:r>
            <a:r>
              <a:rPr dirty="0"/>
              <a:t>section</a:t>
            </a:r>
            <a:r>
              <a:rPr spc="-45" dirty="0"/>
              <a:t> </a:t>
            </a:r>
            <a:r>
              <a:rPr dirty="0"/>
              <a:t>2301</a:t>
            </a:r>
            <a:r>
              <a:rPr spc="-35" dirty="0"/>
              <a:t> </a:t>
            </a:r>
            <a:r>
              <a:rPr dirty="0"/>
              <a:t>of</a:t>
            </a:r>
            <a:r>
              <a:rPr spc="-30" dirty="0"/>
              <a:t> </a:t>
            </a:r>
            <a:r>
              <a:rPr dirty="0"/>
              <a:t>the</a:t>
            </a:r>
            <a:r>
              <a:rPr spc="-20" dirty="0"/>
              <a:t> </a:t>
            </a:r>
            <a:r>
              <a:rPr dirty="0"/>
              <a:t>ACA</a:t>
            </a:r>
            <a:r>
              <a:rPr spc="-50" dirty="0"/>
              <a:t> </a:t>
            </a:r>
            <a:r>
              <a:rPr dirty="0"/>
              <a:t>which</a:t>
            </a:r>
            <a:r>
              <a:rPr spc="-40" dirty="0"/>
              <a:t> </a:t>
            </a:r>
            <a:r>
              <a:rPr dirty="0"/>
              <a:t>calls</a:t>
            </a:r>
            <a:r>
              <a:rPr spc="-35" dirty="0"/>
              <a:t> </a:t>
            </a:r>
            <a:r>
              <a:rPr dirty="0"/>
              <a:t>for</a:t>
            </a:r>
            <a:r>
              <a:rPr spc="-25" dirty="0"/>
              <a:t> the </a:t>
            </a:r>
            <a:r>
              <a:rPr dirty="0"/>
              <a:t>inclusion</a:t>
            </a:r>
            <a:r>
              <a:rPr spc="-25" dirty="0"/>
              <a:t> </a:t>
            </a:r>
            <a:r>
              <a:rPr dirty="0"/>
              <a:t>and</a:t>
            </a:r>
            <a:r>
              <a:rPr spc="-25" dirty="0"/>
              <a:t> </a:t>
            </a:r>
            <a:r>
              <a:rPr spc="-20" dirty="0"/>
              <a:t>reimbursement</a:t>
            </a:r>
            <a:r>
              <a:rPr spc="-45" dirty="0"/>
              <a:t> </a:t>
            </a:r>
            <a:r>
              <a:rPr dirty="0"/>
              <a:t>of</a:t>
            </a:r>
            <a:r>
              <a:rPr spc="-25" dirty="0"/>
              <a:t> </a:t>
            </a:r>
            <a:r>
              <a:rPr spc="-10" dirty="0"/>
              <a:t>freestanding</a:t>
            </a:r>
            <a:r>
              <a:rPr spc="-30" dirty="0"/>
              <a:t> </a:t>
            </a:r>
            <a:r>
              <a:rPr dirty="0"/>
              <a:t>birth</a:t>
            </a:r>
            <a:r>
              <a:rPr spc="-25" dirty="0"/>
              <a:t> </a:t>
            </a:r>
            <a:r>
              <a:rPr spc="-10" dirty="0"/>
              <a:t>centers.</a:t>
            </a:r>
          </a:p>
          <a:p>
            <a:pPr marL="355600" marR="40640" indent="-342900">
              <a:lnSpc>
                <a:spcPts val="2300"/>
              </a:lnSpc>
              <a:spcBef>
                <a:spcPts val="2315"/>
              </a:spcBef>
              <a:buSzPct val="41666"/>
              <a:buFont typeface="Symbol"/>
              <a:buChar char=""/>
              <a:tabLst>
                <a:tab pos="355600" algn="l"/>
              </a:tabLst>
            </a:pPr>
            <a:r>
              <a:rPr spc="-10" dirty="0"/>
              <a:t>Separate</a:t>
            </a:r>
            <a:r>
              <a:rPr spc="-70" dirty="0"/>
              <a:t> </a:t>
            </a:r>
            <a:r>
              <a:rPr spc="-20" dirty="0"/>
              <a:t>reimbursement</a:t>
            </a:r>
            <a:r>
              <a:rPr spc="-85" dirty="0"/>
              <a:t> </a:t>
            </a:r>
            <a:r>
              <a:rPr dirty="0"/>
              <a:t>for</a:t>
            </a:r>
            <a:r>
              <a:rPr spc="-60" dirty="0"/>
              <a:t> </a:t>
            </a:r>
            <a:r>
              <a:rPr dirty="0"/>
              <a:t>each</a:t>
            </a:r>
            <a:r>
              <a:rPr spc="-70" dirty="0"/>
              <a:t> </a:t>
            </a:r>
            <a:r>
              <a:rPr dirty="0"/>
              <a:t>patient</a:t>
            </a:r>
            <a:r>
              <a:rPr spc="-65" dirty="0"/>
              <a:t> </a:t>
            </a:r>
            <a:r>
              <a:rPr dirty="0"/>
              <a:t>cared</a:t>
            </a:r>
            <a:r>
              <a:rPr spc="-60" dirty="0"/>
              <a:t> </a:t>
            </a:r>
            <a:r>
              <a:rPr dirty="0"/>
              <a:t>for</a:t>
            </a:r>
            <a:r>
              <a:rPr spc="-60" dirty="0"/>
              <a:t> </a:t>
            </a:r>
            <a:r>
              <a:rPr dirty="0"/>
              <a:t>including</a:t>
            </a:r>
            <a:r>
              <a:rPr spc="-80" dirty="0"/>
              <a:t> </a:t>
            </a:r>
            <a:r>
              <a:rPr dirty="0"/>
              <a:t>the</a:t>
            </a:r>
            <a:r>
              <a:rPr spc="-55" dirty="0"/>
              <a:t> </a:t>
            </a:r>
            <a:r>
              <a:rPr dirty="0"/>
              <a:t>parent</a:t>
            </a:r>
            <a:r>
              <a:rPr spc="-65" dirty="0"/>
              <a:t> </a:t>
            </a:r>
            <a:r>
              <a:rPr dirty="0"/>
              <a:t>and</a:t>
            </a:r>
            <a:r>
              <a:rPr spc="-65" dirty="0"/>
              <a:t> </a:t>
            </a:r>
            <a:r>
              <a:rPr dirty="0"/>
              <a:t>the</a:t>
            </a:r>
            <a:r>
              <a:rPr spc="-70" dirty="0"/>
              <a:t> </a:t>
            </a:r>
            <a:r>
              <a:rPr spc="-20" dirty="0"/>
              <a:t>baby </a:t>
            </a:r>
            <a:r>
              <a:rPr dirty="0"/>
              <a:t>for</a:t>
            </a:r>
            <a:r>
              <a:rPr spc="-65" dirty="0"/>
              <a:t> </a:t>
            </a:r>
            <a:r>
              <a:rPr dirty="0"/>
              <a:t>both</a:t>
            </a:r>
            <a:r>
              <a:rPr spc="-65" dirty="0"/>
              <a:t> </a:t>
            </a:r>
            <a:r>
              <a:rPr spc="-10" dirty="0"/>
              <a:t>professional</a:t>
            </a:r>
            <a:r>
              <a:rPr spc="-55" dirty="0"/>
              <a:t> </a:t>
            </a:r>
            <a:r>
              <a:rPr dirty="0"/>
              <a:t>and</a:t>
            </a:r>
            <a:r>
              <a:rPr spc="-65" dirty="0"/>
              <a:t> </a:t>
            </a:r>
            <a:r>
              <a:rPr spc="-10" dirty="0"/>
              <a:t>facility.</a:t>
            </a:r>
          </a:p>
          <a:p>
            <a:pPr marL="354965" indent="-342265">
              <a:lnSpc>
                <a:spcPct val="100000"/>
              </a:lnSpc>
              <a:spcBef>
                <a:spcPts val="1370"/>
              </a:spcBef>
              <a:buSzPct val="41666"/>
              <a:buFont typeface="Symbol"/>
              <a:buChar char=""/>
              <a:tabLst>
                <a:tab pos="354965" algn="l"/>
              </a:tabLst>
            </a:pPr>
            <a:r>
              <a:rPr spc="-10" dirty="0"/>
              <a:t>Standardized</a:t>
            </a:r>
            <a:r>
              <a:rPr spc="-65" dirty="0"/>
              <a:t> </a:t>
            </a:r>
            <a:r>
              <a:rPr dirty="0"/>
              <a:t>billing</a:t>
            </a:r>
            <a:r>
              <a:rPr spc="-65" dirty="0"/>
              <a:t> </a:t>
            </a:r>
            <a:r>
              <a:rPr dirty="0"/>
              <a:t>codes</a:t>
            </a:r>
            <a:r>
              <a:rPr spc="-50" dirty="0"/>
              <a:t> </a:t>
            </a:r>
            <a:r>
              <a:rPr dirty="0"/>
              <a:t>recognition,</a:t>
            </a:r>
            <a:r>
              <a:rPr spc="-60" dirty="0"/>
              <a:t> </a:t>
            </a:r>
            <a:r>
              <a:rPr spc="-20" dirty="0"/>
              <a:t>regardless</a:t>
            </a:r>
            <a:r>
              <a:rPr spc="-50" dirty="0"/>
              <a:t> </a:t>
            </a:r>
            <a:r>
              <a:rPr dirty="0"/>
              <a:t>of</a:t>
            </a:r>
            <a:r>
              <a:rPr spc="-50" dirty="0"/>
              <a:t> </a:t>
            </a:r>
            <a:r>
              <a:rPr dirty="0"/>
              <a:t>location</a:t>
            </a:r>
            <a:r>
              <a:rPr spc="-60" dirty="0"/>
              <a:t> </a:t>
            </a:r>
            <a:r>
              <a:rPr dirty="0"/>
              <a:t>(hospital</a:t>
            </a:r>
            <a:r>
              <a:rPr spc="-70" dirty="0"/>
              <a:t> </a:t>
            </a:r>
            <a:r>
              <a:rPr dirty="0"/>
              <a:t>or</a:t>
            </a:r>
            <a:r>
              <a:rPr spc="-45" dirty="0"/>
              <a:t> </a:t>
            </a:r>
            <a:r>
              <a:rPr dirty="0"/>
              <a:t>birth</a:t>
            </a:r>
            <a:r>
              <a:rPr spc="-55" dirty="0"/>
              <a:t> </a:t>
            </a:r>
            <a:r>
              <a:rPr spc="-10" dirty="0"/>
              <a:t>center)</a:t>
            </a:r>
          </a:p>
          <a:p>
            <a:pPr marL="354965" indent="-342265">
              <a:lnSpc>
                <a:spcPts val="2595"/>
              </a:lnSpc>
              <a:spcBef>
                <a:spcPts val="1730"/>
              </a:spcBef>
              <a:buSzPct val="41666"/>
              <a:buFont typeface="Symbol"/>
              <a:buChar char=""/>
              <a:tabLst>
                <a:tab pos="354965" algn="l"/>
              </a:tabLst>
            </a:pPr>
            <a:r>
              <a:rPr dirty="0"/>
              <a:t>National</a:t>
            </a:r>
            <a:r>
              <a:rPr spc="-50" dirty="0"/>
              <a:t> </a:t>
            </a:r>
            <a:r>
              <a:rPr spc="-10" dirty="0"/>
              <a:t>recognition</a:t>
            </a:r>
            <a:r>
              <a:rPr spc="-35" dirty="0"/>
              <a:t> </a:t>
            </a:r>
            <a:r>
              <a:rPr dirty="0"/>
              <a:t>of</a:t>
            </a:r>
            <a:r>
              <a:rPr spc="-30" dirty="0"/>
              <a:t> </a:t>
            </a:r>
            <a:r>
              <a:rPr dirty="0"/>
              <a:t>Accredited</a:t>
            </a:r>
            <a:r>
              <a:rPr spc="-55" dirty="0"/>
              <a:t> </a:t>
            </a:r>
            <a:r>
              <a:rPr spc="-10" dirty="0"/>
              <a:t>Freestanding</a:t>
            </a:r>
            <a:r>
              <a:rPr spc="-65" dirty="0"/>
              <a:t> </a:t>
            </a:r>
            <a:r>
              <a:rPr dirty="0"/>
              <a:t>Birth</a:t>
            </a:r>
            <a:r>
              <a:rPr spc="-45" dirty="0"/>
              <a:t> </a:t>
            </a:r>
            <a:r>
              <a:rPr spc="-10" dirty="0"/>
              <a:t>Centers</a:t>
            </a:r>
            <a:r>
              <a:rPr spc="-65" dirty="0"/>
              <a:t> </a:t>
            </a:r>
            <a:r>
              <a:rPr dirty="0"/>
              <a:t>as</a:t>
            </a:r>
            <a:r>
              <a:rPr spc="-35" dirty="0"/>
              <a:t> </a:t>
            </a:r>
            <a:r>
              <a:rPr dirty="0"/>
              <a:t>the</a:t>
            </a:r>
            <a:r>
              <a:rPr spc="-30" dirty="0"/>
              <a:t> </a:t>
            </a:r>
            <a:r>
              <a:rPr dirty="0"/>
              <a:t>first</a:t>
            </a:r>
            <a:r>
              <a:rPr spc="-50" dirty="0"/>
              <a:t> </a:t>
            </a:r>
            <a:r>
              <a:rPr dirty="0"/>
              <a:t>line</a:t>
            </a:r>
            <a:r>
              <a:rPr spc="-45" dirty="0"/>
              <a:t> </a:t>
            </a:r>
            <a:r>
              <a:rPr dirty="0"/>
              <a:t>of</a:t>
            </a:r>
            <a:r>
              <a:rPr spc="-35" dirty="0"/>
              <a:t> </a:t>
            </a:r>
            <a:r>
              <a:rPr spc="-10" dirty="0"/>
              <a:t>care,</a:t>
            </a:r>
          </a:p>
          <a:p>
            <a:pPr marL="355600">
              <a:lnSpc>
                <a:spcPts val="2595"/>
              </a:lnSpc>
            </a:pPr>
            <a:r>
              <a:rPr dirty="0"/>
              <a:t>and</a:t>
            </a:r>
            <a:r>
              <a:rPr spc="-55" dirty="0"/>
              <a:t> </a:t>
            </a:r>
            <a:r>
              <a:rPr dirty="0"/>
              <a:t>of</a:t>
            </a:r>
            <a:r>
              <a:rPr spc="-55" dirty="0"/>
              <a:t> </a:t>
            </a:r>
            <a:r>
              <a:rPr dirty="0"/>
              <a:t>midwives</a:t>
            </a:r>
            <a:r>
              <a:rPr spc="-50" dirty="0"/>
              <a:t> </a:t>
            </a:r>
            <a:r>
              <a:rPr dirty="0"/>
              <a:t>as</a:t>
            </a:r>
            <a:r>
              <a:rPr spc="-50" dirty="0"/>
              <a:t> </a:t>
            </a:r>
            <a:r>
              <a:rPr dirty="0"/>
              <a:t>the</a:t>
            </a:r>
            <a:r>
              <a:rPr spc="-60" dirty="0"/>
              <a:t> </a:t>
            </a:r>
            <a:r>
              <a:rPr dirty="0"/>
              <a:t>first</a:t>
            </a:r>
            <a:r>
              <a:rPr spc="-60" dirty="0"/>
              <a:t> </a:t>
            </a:r>
            <a:r>
              <a:rPr dirty="0"/>
              <a:t>line</a:t>
            </a:r>
            <a:r>
              <a:rPr spc="-45" dirty="0"/>
              <a:t> </a:t>
            </a:r>
            <a:r>
              <a:rPr dirty="0"/>
              <a:t>of</a:t>
            </a:r>
            <a:r>
              <a:rPr spc="-50" dirty="0"/>
              <a:t> </a:t>
            </a:r>
            <a:r>
              <a:rPr dirty="0"/>
              <a:t>care</a:t>
            </a:r>
            <a:r>
              <a:rPr spc="-55" dirty="0"/>
              <a:t> </a:t>
            </a:r>
            <a:r>
              <a:rPr dirty="0"/>
              <a:t>for</a:t>
            </a:r>
            <a:r>
              <a:rPr spc="-45" dirty="0"/>
              <a:t> </a:t>
            </a:r>
            <a:r>
              <a:rPr spc="-10" dirty="0"/>
              <a:t>pregnancy.</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2179-8BB8-B13F-5966-81D16285BD44}"/>
              </a:ext>
            </a:extLst>
          </p:cNvPr>
          <p:cNvSpPr>
            <a:spLocks noGrp="1"/>
          </p:cNvSpPr>
          <p:nvPr>
            <p:ph type="title"/>
          </p:nvPr>
        </p:nvSpPr>
        <p:spPr>
          <a:xfrm>
            <a:off x="1425892" y="2730500"/>
            <a:ext cx="9340215" cy="830997"/>
          </a:xfrm>
        </p:spPr>
        <p:txBody>
          <a:bodyPr/>
          <a:lstStyle/>
          <a:p>
            <a:pPr algn="ctr"/>
            <a:r>
              <a:rPr lang="en-US" dirty="0"/>
              <a:t>Questions?</a:t>
            </a:r>
          </a:p>
        </p:txBody>
      </p:sp>
    </p:spTree>
    <p:extLst>
      <p:ext uri="{BB962C8B-B14F-4D97-AF65-F5344CB8AC3E}">
        <p14:creationId xmlns:p14="http://schemas.microsoft.com/office/powerpoint/2010/main" val="217216066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A0FEEE-065E-AF3C-8A4A-8DBEDA4D4AE4}"/>
              </a:ext>
            </a:extLst>
          </p:cNvPr>
          <p:cNvSpPr>
            <a:spLocks noGrp="1"/>
          </p:cNvSpPr>
          <p:nvPr>
            <p:ph type="ctrTitle"/>
          </p:nvPr>
        </p:nvSpPr>
        <p:spPr>
          <a:xfrm>
            <a:off x="762000" y="1219200"/>
            <a:ext cx="10591800" cy="4495800"/>
          </a:xfrm>
        </p:spPr>
        <p:txBody>
          <a:bodyPr/>
          <a:lstStyle/>
          <a:p>
            <a:pPr algn="ctr"/>
            <a:r>
              <a:rPr lang="en-US" dirty="0"/>
              <a:t>Thank You, Announcements and Closing Remarks</a:t>
            </a:r>
            <a:br>
              <a:rPr lang="en-US" dirty="0"/>
            </a:br>
            <a:endParaRPr lang="en-US" dirty="0"/>
          </a:p>
        </p:txBody>
      </p:sp>
      <p:pic>
        <p:nvPicPr>
          <p:cNvPr id="7" name="Picture 6">
            <a:extLst>
              <a:ext uri="{FF2B5EF4-FFF2-40B4-BE49-F238E27FC236}">
                <a16:creationId xmlns:a16="http://schemas.microsoft.com/office/drawing/2014/main" id="{A67B5998-4360-9F4B-BDB5-D78C26BDF58F}"/>
              </a:ext>
            </a:extLst>
          </p:cNvPr>
          <p:cNvPicPr>
            <a:picLocks noChangeAspect="1"/>
          </p:cNvPicPr>
          <p:nvPr/>
        </p:nvPicPr>
        <p:blipFill>
          <a:blip r:embed="rId2"/>
          <a:stretch>
            <a:fillRect/>
          </a:stretch>
        </p:blipFill>
        <p:spPr>
          <a:xfrm>
            <a:off x="3192909" y="3048000"/>
            <a:ext cx="5729982" cy="2895600"/>
          </a:xfrm>
          <a:prstGeom prst="rect">
            <a:avLst/>
          </a:prstGeom>
        </p:spPr>
      </p:pic>
    </p:spTree>
    <p:extLst>
      <p:ext uri="{BB962C8B-B14F-4D97-AF65-F5344CB8AC3E}">
        <p14:creationId xmlns:p14="http://schemas.microsoft.com/office/powerpoint/2010/main" val="94216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6" name="Rectangle 1035">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8" name="Rectangle 1037">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5" name="Rectangle 103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7" name="Rectangle 103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1">
            <a:extLst>
              <a:ext uri="{FF2B5EF4-FFF2-40B4-BE49-F238E27FC236}">
                <a16:creationId xmlns:a16="http://schemas.microsoft.com/office/drawing/2014/main" id="{2DB3F393-6895-A6AC-838E-C9F50D6FC06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851082" y="158829"/>
            <a:ext cx="5010531" cy="6486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Qr Code Preview Image.">
            <a:extLst>
              <a:ext uri="{FF2B5EF4-FFF2-40B4-BE49-F238E27FC236}">
                <a16:creationId xmlns:a16="http://schemas.microsoft.com/office/drawing/2014/main" id="{47D377D1-A70F-CE9E-1AB2-5DAA85AEC7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36625" y="5293632"/>
            <a:ext cx="1376082" cy="137608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1810664-6E58-B178-BD19-1947FF72908F}"/>
              </a:ext>
            </a:extLst>
          </p:cNvPr>
          <p:cNvSpPr txBox="1"/>
          <p:nvPr/>
        </p:nvSpPr>
        <p:spPr>
          <a:xfrm>
            <a:off x="10636625" y="4625788"/>
            <a:ext cx="1376082" cy="646331"/>
          </a:xfrm>
          <a:prstGeom prst="rect">
            <a:avLst/>
          </a:prstGeom>
          <a:noFill/>
        </p:spPr>
        <p:txBody>
          <a:bodyPr wrap="square" rtlCol="0">
            <a:spAutoFit/>
          </a:bodyPr>
          <a:lstStyle/>
          <a:p>
            <a:pPr algn="ctr"/>
            <a:r>
              <a:rPr lang="en-US" dirty="0">
                <a:solidFill>
                  <a:schemeClr val="bg1"/>
                </a:solidFill>
              </a:rPr>
              <a:t>Scan to Register:</a:t>
            </a:r>
          </a:p>
        </p:txBody>
      </p:sp>
    </p:spTree>
    <p:extLst>
      <p:ext uri="{BB962C8B-B14F-4D97-AF65-F5344CB8AC3E}">
        <p14:creationId xmlns:p14="http://schemas.microsoft.com/office/powerpoint/2010/main" val="35988864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 name="Picture 3" descr="A blue and orange graphic design&#10;&#10;Description automatically generated">
            <a:extLst>
              <a:ext uri="{FF2B5EF4-FFF2-40B4-BE49-F238E27FC236}">
                <a16:creationId xmlns:a16="http://schemas.microsoft.com/office/drawing/2014/main" id="{169C7AD6-9C74-D54B-16CC-9C03962A96EC}"/>
              </a:ext>
            </a:extLst>
          </p:cNvPr>
          <p:cNvPicPr>
            <a:picLocks noChangeAspect="1"/>
          </p:cNvPicPr>
          <p:nvPr/>
        </p:nvPicPr>
        <p:blipFill>
          <a:blip r:embed="rId2"/>
          <a:stretch>
            <a:fillRect/>
          </a:stretch>
        </p:blipFill>
        <p:spPr>
          <a:xfrm>
            <a:off x="3124200" y="457200"/>
            <a:ext cx="5943600" cy="5943600"/>
          </a:xfrm>
          <a:prstGeom prst="rect">
            <a:avLst/>
          </a:prstGeom>
        </p:spPr>
      </p:pic>
      <p:pic>
        <p:nvPicPr>
          <p:cNvPr id="3" name="Picture 2" descr="A qr code on a white background&#10;&#10;Description automatically generated">
            <a:extLst>
              <a:ext uri="{FF2B5EF4-FFF2-40B4-BE49-F238E27FC236}">
                <a16:creationId xmlns:a16="http://schemas.microsoft.com/office/drawing/2014/main" id="{4ED5C79A-F227-058B-2157-32BFCD8C84BF}"/>
              </a:ext>
            </a:extLst>
          </p:cNvPr>
          <p:cNvPicPr>
            <a:picLocks noChangeAspect="1"/>
          </p:cNvPicPr>
          <p:nvPr/>
        </p:nvPicPr>
        <p:blipFill>
          <a:blip r:embed="rId3"/>
          <a:stretch>
            <a:fillRect/>
          </a:stretch>
        </p:blipFill>
        <p:spPr>
          <a:xfrm>
            <a:off x="10784541" y="5414682"/>
            <a:ext cx="1302684" cy="1302684"/>
          </a:xfrm>
          <a:prstGeom prst="rect">
            <a:avLst/>
          </a:prstGeom>
        </p:spPr>
      </p:pic>
      <p:sp>
        <p:nvSpPr>
          <p:cNvPr id="5" name="TextBox 4">
            <a:extLst>
              <a:ext uri="{FF2B5EF4-FFF2-40B4-BE49-F238E27FC236}">
                <a16:creationId xmlns:a16="http://schemas.microsoft.com/office/drawing/2014/main" id="{38CAEBBD-1C07-4CAB-9B96-674FAAB593E4}"/>
              </a:ext>
            </a:extLst>
          </p:cNvPr>
          <p:cNvSpPr txBox="1"/>
          <p:nvPr/>
        </p:nvSpPr>
        <p:spPr>
          <a:xfrm>
            <a:off x="10619609" y="4381051"/>
            <a:ext cx="1571625" cy="954107"/>
          </a:xfrm>
          <a:prstGeom prst="rect">
            <a:avLst/>
          </a:prstGeom>
          <a:noFill/>
        </p:spPr>
        <p:txBody>
          <a:bodyPr wrap="square" rtlCol="0">
            <a:spAutoFit/>
          </a:bodyPr>
          <a:lstStyle/>
          <a:p>
            <a:pPr algn="ctr"/>
            <a:r>
              <a:rPr lang="en-US" sz="1400" dirty="0">
                <a:solidFill>
                  <a:schemeClr val="bg1"/>
                </a:solidFill>
              </a:rPr>
              <a:t>Scan to present on an initiative/</a:t>
            </a:r>
          </a:p>
          <a:p>
            <a:pPr algn="ctr"/>
            <a:r>
              <a:rPr lang="en-US" sz="1400" dirty="0">
                <a:solidFill>
                  <a:schemeClr val="bg1"/>
                </a:solidFill>
              </a:rPr>
              <a:t>collaboration/</a:t>
            </a:r>
          </a:p>
          <a:p>
            <a:pPr algn="ctr"/>
            <a:r>
              <a:rPr lang="en-US" sz="1400" dirty="0">
                <a:solidFill>
                  <a:schemeClr val="bg1"/>
                </a:solidFill>
              </a:rPr>
              <a:t>project:</a:t>
            </a:r>
          </a:p>
        </p:txBody>
      </p:sp>
    </p:spTree>
    <p:extLst>
      <p:ext uri="{BB962C8B-B14F-4D97-AF65-F5344CB8AC3E}">
        <p14:creationId xmlns:p14="http://schemas.microsoft.com/office/powerpoint/2010/main" val="42016297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67460" rIns="0" bIns="0" rtlCol="0">
            <a:spAutoFit/>
          </a:bodyPr>
          <a:lstStyle/>
          <a:p>
            <a:pPr marL="3519170">
              <a:lnSpc>
                <a:spcPct val="100000"/>
              </a:lnSpc>
              <a:spcBef>
                <a:spcPts val="100"/>
              </a:spcBef>
            </a:pPr>
            <a:r>
              <a:rPr spc="-10" dirty="0"/>
              <a:t>Closing</a:t>
            </a:r>
          </a:p>
        </p:txBody>
      </p:sp>
      <p:sp>
        <p:nvSpPr>
          <p:cNvPr id="3" name="object 3"/>
          <p:cNvSpPr txBox="1"/>
          <p:nvPr/>
        </p:nvSpPr>
        <p:spPr>
          <a:xfrm>
            <a:off x="358729" y="2950823"/>
            <a:ext cx="8091170" cy="1685289"/>
          </a:xfrm>
          <a:prstGeom prst="rect">
            <a:avLst/>
          </a:prstGeom>
        </p:spPr>
        <p:txBody>
          <a:bodyPr vert="horz" wrap="square" lIns="0" tIns="62865" rIns="0" bIns="0" rtlCol="0">
            <a:spAutoFit/>
          </a:bodyPr>
          <a:lstStyle/>
          <a:p>
            <a:pPr marL="12700" marR="0" lvl="0" indent="0" defTabSz="914400" eaLnBrk="1" fontAlgn="auto" latinLnBrk="0" hangingPunct="1">
              <a:lnSpc>
                <a:spcPct val="100000"/>
              </a:lnSpc>
              <a:spcBef>
                <a:spcPts val="495"/>
              </a:spcBef>
              <a:spcAft>
                <a:spcPts val="0"/>
              </a:spcAft>
              <a:buClrTx/>
              <a:buSzTx/>
              <a:buFontTx/>
              <a:buNone/>
              <a:tabLst/>
              <a:defRPr/>
            </a:pP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Thank</a:t>
            </a:r>
            <a:r>
              <a:rPr kumimoji="0" sz="3300" b="1" i="0" u="none" strike="noStrike" kern="0" cap="none" spc="-30"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you</a:t>
            </a:r>
            <a:r>
              <a:rPr kumimoji="0" sz="3300" b="1" i="0" u="none" strike="noStrike" kern="0" cap="none" spc="-10"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for</a:t>
            </a:r>
            <a:r>
              <a:rPr kumimoji="0" sz="3300" b="1" i="0" u="none" strike="noStrike" kern="0" cap="none" spc="-5"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your</a:t>
            </a:r>
            <a:r>
              <a:rPr kumimoji="0" sz="3300" b="1" i="0" u="none" strike="noStrike" kern="0" cap="none" spc="-5"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10" normalizeH="0" baseline="0" noProof="0" dirty="0">
                <a:ln>
                  <a:noFill/>
                </a:ln>
                <a:solidFill>
                  <a:sysClr val="windowText" lastClr="000000"/>
                </a:solidFill>
                <a:effectLst/>
                <a:uLnTx/>
                <a:uFillTx/>
                <a:latin typeface="Palatino Linotype"/>
                <a:cs typeface="Palatino Linotype"/>
              </a:rPr>
              <a:t>participation!</a:t>
            </a:r>
            <a:endParaRPr kumimoji="0" sz="3300" b="0" i="0" u="none" strike="noStrike" kern="0" cap="none" spc="0" normalizeH="0" baseline="0" noProof="0" dirty="0">
              <a:ln>
                <a:noFill/>
              </a:ln>
              <a:solidFill>
                <a:sysClr val="windowText" lastClr="000000"/>
              </a:solidFill>
              <a:effectLst/>
              <a:uLnTx/>
              <a:uFillTx/>
              <a:latin typeface="Palatino Linotype"/>
              <a:cs typeface="Palatino Linotype"/>
            </a:endParaRPr>
          </a:p>
          <a:p>
            <a:pPr marL="12700" marR="5080" lvl="0" indent="0" defTabSz="914400" eaLnBrk="1" fontAlgn="auto" latinLnBrk="0" hangingPunct="1">
              <a:lnSpc>
                <a:spcPct val="110000"/>
              </a:lnSpc>
              <a:spcBef>
                <a:spcPts val="0"/>
              </a:spcBef>
              <a:spcAft>
                <a:spcPts val="0"/>
              </a:spcAft>
              <a:buClrTx/>
              <a:buSzTx/>
              <a:buFontTx/>
              <a:buNone/>
              <a:tabLst/>
              <a:defRPr/>
            </a:pP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Any</a:t>
            </a:r>
            <a:r>
              <a:rPr kumimoji="0" sz="3300" b="1" i="0" u="none" strike="noStrike" kern="0" cap="none" spc="-15"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questions</a:t>
            </a:r>
            <a:r>
              <a:rPr kumimoji="0" sz="3300" b="1" i="0" u="none" strike="noStrike" kern="0" cap="none" spc="-10"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can</a:t>
            </a:r>
            <a:r>
              <a:rPr kumimoji="0" sz="3300" b="1" i="0" u="none" strike="noStrike" kern="0" cap="none" spc="-5"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be</a:t>
            </a:r>
            <a:r>
              <a:rPr kumimoji="0" sz="3300" b="1" i="0" u="none" strike="noStrike" kern="0" cap="none" spc="-5"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sent</a:t>
            </a:r>
            <a:r>
              <a:rPr kumimoji="0" sz="3300" b="1" i="0" u="none" strike="noStrike" kern="0" cap="none" spc="-5" normalizeH="0" baseline="0" noProof="0" dirty="0">
                <a:ln>
                  <a:noFill/>
                </a:ln>
                <a:solidFill>
                  <a:sysClr val="windowText" lastClr="000000"/>
                </a:solidFill>
                <a:effectLst/>
                <a:uLnTx/>
                <a:uFillTx/>
                <a:latin typeface="Palatino Linotype"/>
                <a:cs typeface="Palatino Linotype"/>
              </a:rPr>
              <a:t> </a:t>
            </a:r>
            <a:r>
              <a:rPr kumimoji="0" sz="3300" b="1" i="0" u="none" strike="noStrike" kern="0" cap="none" spc="0" normalizeH="0" baseline="0" noProof="0" dirty="0">
                <a:ln>
                  <a:noFill/>
                </a:ln>
                <a:solidFill>
                  <a:sysClr val="windowText" lastClr="000000"/>
                </a:solidFill>
                <a:effectLst/>
                <a:uLnTx/>
                <a:uFillTx/>
                <a:latin typeface="Palatino Linotype"/>
                <a:cs typeface="Palatino Linotype"/>
              </a:rPr>
              <a:t>to </a:t>
            </a:r>
            <a:r>
              <a:rPr kumimoji="0" lang="en-US" sz="3300" b="1" i="0" u="none" strike="noStrike" kern="0" cap="none" spc="0" normalizeH="0" baseline="0" noProof="0" dirty="0">
                <a:ln>
                  <a:noFill/>
                </a:ln>
                <a:solidFill>
                  <a:sysClr val="windowText" lastClr="000000"/>
                </a:solidFill>
                <a:effectLst/>
                <a:uLnTx/>
                <a:uFillTx/>
                <a:latin typeface="Palatino Linotype"/>
                <a:cs typeface="Palatino Linotype"/>
              </a:rPr>
              <a:t>Lauren Sayah </a:t>
            </a:r>
            <a:r>
              <a:rPr kumimoji="0" sz="3300" b="1" i="0" u="none" strike="noStrike" kern="0" cap="none" spc="-10" normalizeH="0" baseline="0" noProof="0" dirty="0">
                <a:ln>
                  <a:noFill/>
                </a:ln>
                <a:solidFill>
                  <a:sysClr val="windowText" lastClr="000000"/>
                </a:solidFill>
                <a:effectLst/>
                <a:uLnTx/>
                <a:uFillTx/>
                <a:latin typeface="Palatino Linotype"/>
                <a:cs typeface="Palatino Linotype"/>
              </a:rPr>
              <a:t>(</a:t>
            </a:r>
            <a:r>
              <a:rPr kumimoji="0" lang="en-US" sz="3300" b="1" i="0" u="sng" strike="noStrike" kern="0" cap="none" spc="-10" normalizeH="0" baseline="0" noProof="0" dirty="0">
                <a:ln>
                  <a:noFill/>
                </a:ln>
                <a:solidFill>
                  <a:srgbClr val="9353C3"/>
                </a:solidFill>
                <a:effectLst/>
                <a:uLnTx/>
                <a:uFill>
                  <a:solidFill>
                    <a:srgbClr val="9353C3"/>
                  </a:solidFill>
                </a:uFill>
                <a:latin typeface="Palatino Linotype"/>
                <a:cs typeface="Palatino Linotype"/>
              </a:rPr>
              <a:t>lsayah2@uic.edu</a:t>
            </a:r>
            <a:r>
              <a:rPr kumimoji="0" sz="3300" b="1" i="0" u="none" strike="noStrike" kern="0" cap="none" spc="-10" normalizeH="0" baseline="0" noProof="0" dirty="0">
                <a:ln>
                  <a:noFill/>
                </a:ln>
                <a:solidFill>
                  <a:sysClr val="windowText" lastClr="000000"/>
                </a:solidFill>
                <a:effectLst/>
                <a:uLnTx/>
                <a:uFillTx/>
                <a:latin typeface="Palatino Linotype"/>
                <a:cs typeface="Palatino Linotype"/>
              </a:rPr>
              <a:t>)</a:t>
            </a:r>
            <a:endParaRPr kumimoji="0" sz="3300" b="0" i="0" u="none" strike="noStrike" kern="0" cap="none" spc="0" normalizeH="0" baseline="0" noProof="0" dirty="0">
              <a:ln>
                <a:noFill/>
              </a:ln>
              <a:solidFill>
                <a:sysClr val="windowText" lastClr="000000"/>
              </a:solidFill>
              <a:effectLst/>
              <a:uLnTx/>
              <a:uFillTx/>
              <a:latin typeface="Palatino Linotype"/>
              <a:cs typeface="Palatino Linotype"/>
            </a:endParaRPr>
          </a:p>
        </p:txBody>
      </p:sp>
      <p:sp>
        <p:nvSpPr>
          <p:cNvPr id="4" name="object 4"/>
          <p:cNvSpPr txBox="1"/>
          <p:nvPr/>
        </p:nvSpPr>
        <p:spPr>
          <a:xfrm>
            <a:off x="11937236" y="6607181"/>
            <a:ext cx="165735" cy="1930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100" b="0" i="0" u="none" strike="noStrike" kern="0" cap="none" spc="-25" normalizeH="0" baseline="0" noProof="0" dirty="0">
                <a:ln>
                  <a:noFill/>
                </a:ln>
                <a:solidFill>
                  <a:sysClr val="windowText" lastClr="000000"/>
                </a:solidFill>
                <a:effectLst/>
                <a:uLnTx/>
                <a:uFillTx/>
                <a:latin typeface="Palatino Linotype"/>
                <a:cs typeface="Palatino Linotype"/>
              </a:rPr>
              <a:t>22</a:t>
            </a:r>
            <a:endParaRPr kumimoji="0" sz="1100" b="0" i="0" u="none" strike="noStrike" kern="0" cap="none" spc="0" normalizeH="0" baseline="0" noProof="0">
              <a:ln>
                <a:noFill/>
              </a:ln>
              <a:solidFill>
                <a:sysClr val="windowText" lastClr="000000"/>
              </a:solidFill>
              <a:effectLst/>
              <a:uLnTx/>
              <a:uFillTx/>
              <a:latin typeface="Palatino Linotype"/>
              <a:cs typeface="Palatino Linotype"/>
            </a:endParaRPr>
          </a:p>
        </p:txBody>
      </p:sp>
      <p:pic>
        <p:nvPicPr>
          <p:cNvPr id="5" name="object 5"/>
          <p:cNvPicPr/>
          <p:nvPr/>
        </p:nvPicPr>
        <p:blipFill>
          <a:blip r:embed="rId2" cstate="print"/>
          <a:stretch>
            <a:fillRect/>
          </a:stretch>
        </p:blipFill>
        <p:spPr>
          <a:xfrm>
            <a:off x="8394000" y="6176181"/>
            <a:ext cx="3257719" cy="433351"/>
          </a:xfrm>
          <a:prstGeom prst="rect">
            <a:avLst/>
          </a:prstGeom>
        </p:spPr>
      </p:pic>
      <p:pic>
        <p:nvPicPr>
          <p:cNvPr id="6" name="object 6"/>
          <p:cNvPicPr/>
          <p:nvPr/>
        </p:nvPicPr>
        <p:blipFill>
          <a:blip r:embed="rId3" cstate="print"/>
          <a:stretch>
            <a:fillRect/>
          </a:stretch>
        </p:blipFill>
        <p:spPr>
          <a:xfrm>
            <a:off x="8661654" y="1053846"/>
            <a:ext cx="3079240" cy="2515361"/>
          </a:xfrm>
          <a:prstGeom prst="rect">
            <a:avLst/>
          </a:prstGeom>
        </p:spPr>
      </p:pic>
      <p:pic>
        <p:nvPicPr>
          <p:cNvPr id="7" name="object 7"/>
          <p:cNvPicPr/>
          <p:nvPr/>
        </p:nvPicPr>
        <p:blipFill>
          <a:blip r:embed="rId4" cstate="print"/>
          <a:stretch>
            <a:fillRect/>
          </a:stretch>
        </p:blipFill>
        <p:spPr>
          <a:xfrm>
            <a:off x="537611" y="5161947"/>
            <a:ext cx="3411709" cy="1465081"/>
          </a:xfrm>
          <a:prstGeom prst="rect">
            <a:avLst/>
          </a:prstGeom>
        </p:spPr>
      </p:pic>
    </p:spTree>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g26bd6778df0_0_11"/>
          <p:cNvSpPr txBox="1">
            <a:spLocks noGrp="1"/>
          </p:cNvSpPr>
          <p:nvPr>
            <p:ph type="title"/>
          </p:nvPr>
        </p:nvSpPr>
        <p:spPr>
          <a:xfrm>
            <a:off x="2384778" y="609600"/>
            <a:ext cx="7921122"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sz="3600" dirty="0">
                <a:solidFill>
                  <a:schemeClr val="lt1"/>
                </a:solidFill>
                <a:latin typeface="Oswald"/>
                <a:ea typeface="Oswald"/>
                <a:cs typeface="Oswald"/>
                <a:sym typeface="Oswald"/>
              </a:rPr>
              <a:t>BIRTH CENTER: ILLINOIS Definition</a:t>
            </a:r>
            <a:endParaRPr sz="3600" dirty="0"/>
          </a:p>
        </p:txBody>
      </p:sp>
      <p:sp>
        <p:nvSpPr>
          <p:cNvPr id="131" name="Google Shape;131;g26bd6778df0_0_11"/>
          <p:cNvSpPr txBox="1">
            <a:spLocks noGrp="1"/>
          </p:cNvSpPr>
          <p:nvPr>
            <p:ph type="body" idx="1"/>
          </p:nvPr>
        </p:nvSpPr>
        <p:spPr>
          <a:xfrm>
            <a:off x="2317400" y="2184550"/>
            <a:ext cx="7665000" cy="3814800"/>
          </a:xfrm>
          <a:prstGeom prst="rect">
            <a:avLst/>
          </a:prstGeom>
          <a:noFill/>
          <a:ln>
            <a:noFill/>
          </a:ln>
        </p:spPr>
        <p:txBody>
          <a:bodyPr spcFirstLastPara="1" wrap="square" lIns="92075" tIns="46025" rIns="92075" bIns="46025" anchor="t" anchorCtr="0">
            <a:noAutofit/>
          </a:bodyPr>
          <a:lstStyle/>
          <a:p>
            <a:pPr marL="0" indent="0">
              <a:spcBef>
                <a:spcPts val="0"/>
              </a:spcBef>
              <a:buSzPts val="2240"/>
              <a:buNone/>
            </a:pPr>
            <a:r>
              <a:rPr lang="en-US" sz="2200" b="0" dirty="0">
                <a:latin typeface="Times New Roman"/>
                <a:ea typeface="Times New Roman"/>
                <a:cs typeface="Times New Roman"/>
                <a:sym typeface="Times New Roman"/>
              </a:rPr>
              <a:t>“Birth Center” means a designated site, other than a hospital:</a:t>
            </a:r>
            <a:endParaRPr sz="2200" b="0" dirty="0">
              <a:latin typeface="Times New Roman"/>
              <a:ea typeface="Times New Roman"/>
              <a:cs typeface="Times New Roman"/>
              <a:sym typeface="Times New Roman"/>
            </a:endParaRPr>
          </a:p>
          <a:p>
            <a:pPr indent="-368300">
              <a:spcBef>
                <a:spcPts val="0"/>
              </a:spcBef>
              <a:buSzPts val="2200"/>
              <a:buFont typeface="Times New Roman"/>
              <a:buAutoNum type="arabicParenBoth"/>
            </a:pPr>
            <a:r>
              <a:rPr lang="en-US" sz="2200" b="0" dirty="0">
                <a:latin typeface="Times New Roman"/>
                <a:ea typeface="Times New Roman"/>
                <a:cs typeface="Times New Roman"/>
                <a:sym typeface="Times New Roman"/>
              </a:rPr>
              <a:t>in which births are planned to occur following a normal, uncomplicated, and low-risk pregnancy;</a:t>
            </a:r>
            <a:endParaRPr sz="2200" b="0" dirty="0">
              <a:latin typeface="Times New Roman"/>
              <a:ea typeface="Times New Roman"/>
              <a:cs typeface="Times New Roman"/>
              <a:sym typeface="Times New Roman"/>
            </a:endParaRPr>
          </a:p>
          <a:p>
            <a:pPr indent="-368300">
              <a:spcBef>
                <a:spcPts val="0"/>
              </a:spcBef>
              <a:buSzPts val="2200"/>
              <a:buFont typeface="Times New Roman"/>
              <a:buAutoNum type="arabicParenBoth"/>
            </a:pPr>
            <a:r>
              <a:rPr lang="en-US" sz="2200" b="0" dirty="0">
                <a:latin typeface="Times New Roman"/>
                <a:ea typeface="Times New Roman"/>
                <a:cs typeface="Times New Roman"/>
                <a:sym typeface="Times New Roman"/>
              </a:rPr>
              <a:t>that is not the pregnant person’s usual place of residence;</a:t>
            </a:r>
            <a:endParaRPr sz="2200" b="0" dirty="0">
              <a:latin typeface="Times New Roman"/>
              <a:ea typeface="Times New Roman"/>
              <a:cs typeface="Times New Roman"/>
              <a:sym typeface="Times New Roman"/>
            </a:endParaRPr>
          </a:p>
          <a:p>
            <a:pPr indent="-368300">
              <a:spcBef>
                <a:spcPts val="0"/>
              </a:spcBef>
              <a:buSzPts val="2200"/>
              <a:buFont typeface="Times New Roman"/>
              <a:buAutoNum type="arabicParenBoth"/>
            </a:pPr>
            <a:r>
              <a:rPr lang="en-US" sz="2200" b="0" dirty="0">
                <a:latin typeface="Times New Roman"/>
                <a:ea typeface="Times New Roman"/>
                <a:cs typeface="Times New Roman"/>
                <a:sym typeface="Times New Roman"/>
              </a:rPr>
              <a:t>that is exclusively dedicated to serving the childbirth-related needs of pregnant persons and their newborns, and has no more than 10 beds;</a:t>
            </a:r>
            <a:endParaRPr sz="2200" b="0" dirty="0">
              <a:latin typeface="Times New Roman"/>
              <a:ea typeface="Times New Roman"/>
              <a:cs typeface="Times New Roman"/>
              <a:sym typeface="Times New Roman"/>
            </a:endParaRPr>
          </a:p>
          <a:p>
            <a:pPr indent="-368300">
              <a:spcBef>
                <a:spcPts val="0"/>
              </a:spcBef>
              <a:buSzPts val="2200"/>
              <a:buFont typeface="Times New Roman"/>
              <a:buAutoNum type="arabicParenBoth"/>
            </a:pPr>
            <a:r>
              <a:rPr lang="en-US" sz="2200" b="0" dirty="0">
                <a:latin typeface="Times New Roman"/>
                <a:ea typeface="Times New Roman"/>
                <a:cs typeface="Times New Roman"/>
                <a:sym typeface="Times New Roman"/>
              </a:rPr>
              <a:t>that offers prenatal care and community education services and coordinates these services with other health care services available in the community; and</a:t>
            </a:r>
            <a:endParaRPr sz="2200" b="0" dirty="0">
              <a:latin typeface="Times New Roman"/>
              <a:ea typeface="Times New Roman"/>
              <a:cs typeface="Times New Roman"/>
              <a:sym typeface="Times New Roman"/>
            </a:endParaRPr>
          </a:p>
          <a:p>
            <a:pPr indent="-368300">
              <a:spcBef>
                <a:spcPts val="0"/>
              </a:spcBef>
              <a:buSzPts val="2200"/>
              <a:buFont typeface="Times New Roman"/>
              <a:buAutoNum type="arabicParenBoth"/>
            </a:pPr>
            <a:r>
              <a:rPr lang="en-US" sz="2200" b="0" dirty="0">
                <a:latin typeface="Times New Roman"/>
                <a:ea typeface="Times New Roman"/>
                <a:cs typeface="Times New Roman"/>
                <a:sym typeface="Times New Roman"/>
              </a:rPr>
              <a:t>that does not provide general anesthesia or surgery</a:t>
            </a:r>
            <a:endParaRPr sz="2200" b="0" dirty="0">
              <a:latin typeface="Times New Roman"/>
              <a:ea typeface="Times New Roman"/>
              <a:cs typeface="Times New Roman"/>
              <a:sym typeface="Times New Roman"/>
            </a:endParaRPr>
          </a:p>
          <a:p>
            <a:pPr indent="0">
              <a:spcBef>
                <a:spcPts val="0"/>
              </a:spcBef>
              <a:buNone/>
            </a:pPr>
            <a:endParaRPr sz="2200" b="0" dirty="0">
              <a:latin typeface="Times New Roman"/>
              <a:ea typeface="Times New Roman"/>
              <a:cs typeface="Times New Roman"/>
              <a:sym typeface="Times New Roman"/>
            </a:endParaRPr>
          </a:p>
          <a:p>
            <a:pPr marL="342900" indent="-342900">
              <a:spcBef>
                <a:spcPts val="0"/>
              </a:spcBef>
              <a:buSzPts val="2560"/>
              <a:buNone/>
            </a:pPr>
            <a:r>
              <a:rPr lang="en-US" sz="2000" b="0" dirty="0">
                <a:latin typeface="Times New Roman"/>
                <a:ea typeface="Times New Roman"/>
                <a:cs typeface="Times New Roman"/>
                <a:sym typeface="Times New Roman"/>
              </a:rPr>
              <a:t>-Birth Center Licensing Act:  Illinois Public Act 102-0518</a:t>
            </a:r>
            <a:endParaRPr sz="24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g26bd381e537_0_1"/>
          <p:cNvSpPr txBox="1">
            <a:spLocks noGrp="1"/>
          </p:cNvSpPr>
          <p:nvPr>
            <p:ph type="title"/>
          </p:nvPr>
        </p:nvSpPr>
        <p:spPr>
          <a:xfrm>
            <a:off x="2209800" y="620475"/>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BIRTH CENTERS</a:t>
            </a:r>
            <a:endParaRPr/>
          </a:p>
        </p:txBody>
      </p:sp>
      <p:pic>
        <p:nvPicPr>
          <p:cNvPr id="137" name="Google Shape;137;g26bd381e537_0_1" descr="Auben&amp;James Birth Center.jpeg"/>
          <p:cNvPicPr preferRelativeResize="0"/>
          <p:nvPr/>
        </p:nvPicPr>
        <p:blipFill rotWithShape="1">
          <a:blip r:embed="rId3">
            <a:alphaModFix/>
          </a:blip>
          <a:srcRect l="-18191" r="-18178"/>
          <a:stretch/>
        </p:blipFill>
        <p:spPr>
          <a:xfrm>
            <a:off x="2122800" y="2074150"/>
            <a:ext cx="7772400" cy="4274700"/>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41"/>
        <p:cNvGrpSpPr/>
        <p:nvPr/>
      </p:nvGrpSpPr>
      <p:grpSpPr>
        <a:xfrm>
          <a:off x="0" y="0"/>
          <a:ext cx="0" cy="0"/>
          <a:chOff x="0" y="0"/>
          <a:chExt cx="0" cy="0"/>
        </a:xfrm>
      </p:grpSpPr>
      <p:sp>
        <p:nvSpPr>
          <p:cNvPr id="142" name="Google Shape;142;g2c3ae3632cd_0_0"/>
          <p:cNvSpPr txBox="1">
            <a:spLocks noGrp="1"/>
          </p:cNvSpPr>
          <p:nvPr>
            <p:ph type="title"/>
          </p:nvPr>
        </p:nvSpPr>
        <p:spPr>
          <a:xfrm>
            <a:off x="2209800" y="620475"/>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HOSPITAL BIRTH CENTERS</a:t>
            </a:r>
            <a:endParaRPr/>
          </a:p>
        </p:txBody>
      </p:sp>
      <p:pic>
        <p:nvPicPr>
          <p:cNvPr id="143" name="Google Shape;143;g2c3ae3632cd_0_0" descr="doctor delivery.jpeg"/>
          <p:cNvPicPr preferRelativeResize="0"/>
          <p:nvPr/>
        </p:nvPicPr>
        <p:blipFill rotWithShape="1">
          <a:blip r:embed="rId3">
            <a:alphaModFix/>
          </a:blip>
          <a:srcRect/>
          <a:stretch/>
        </p:blipFill>
        <p:spPr>
          <a:xfrm>
            <a:off x="2910209" y="1981200"/>
            <a:ext cx="6233100" cy="4145100"/>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sp>
        <p:nvSpPr>
          <p:cNvPr id="148" name="Google Shape;148;p4"/>
          <p:cNvSpPr txBox="1">
            <a:spLocks noGrp="1"/>
          </p:cNvSpPr>
          <p:nvPr>
            <p:ph type="title"/>
          </p:nvPr>
        </p:nvSpPr>
        <p:spPr>
          <a:xfrm>
            <a:off x="2209800" y="609600"/>
            <a:ext cx="7772400" cy="1143000"/>
          </a:xfrm>
          <a:prstGeom prst="rect">
            <a:avLst/>
          </a:prstGeom>
          <a:noFill/>
          <a:ln>
            <a:noFill/>
          </a:ln>
        </p:spPr>
        <p:txBody>
          <a:bodyPr spcFirstLastPara="1" wrap="square" lIns="92075" tIns="46025" rIns="92075" bIns="46025" anchor="ctr" anchorCtr="0">
            <a:noAutofit/>
          </a:bodyPr>
          <a:lstStyle/>
          <a:p>
            <a:pPr>
              <a:buClr>
                <a:schemeClr val="lt2"/>
              </a:buClr>
              <a:buSzPts val="4400"/>
            </a:pPr>
            <a:r>
              <a:rPr lang="en-US">
                <a:solidFill>
                  <a:schemeClr val="lt1"/>
                </a:solidFill>
                <a:latin typeface="Oswald"/>
                <a:ea typeface="Oswald"/>
                <a:cs typeface="Oswald"/>
                <a:sym typeface="Oswald"/>
              </a:rPr>
              <a:t>BIRTH CENTERS: FACTS</a:t>
            </a:r>
            <a:endParaRPr/>
          </a:p>
        </p:txBody>
      </p:sp>
      <p:sp>
        <p:nvSpPr>
          <p:cNvPr id="149" name="Google Shape;149;p4"/>
          <p:cNvSpPr txBox="1">
            <a:spLocks noGrp="1"/>
          </p:cNvSpPr>
          <p:nvPr>
            <p:ph type="body" idx="1"/>
          </p:nvPr>
        </p:nvSpPr>
        <p:spPr>
          <a:xfrm>
            <a:off x="2286000" y="2286000"/>
            <a:ext cx="7772400" cy="2895600"/>
          </a:xfrm>
          <a:prstGeom prst="rect">
            <a:avLst/>
          </a:prstGeom>
          <a:noFill/>
          <a:ln>
            <a:noFill/>
          </a:ln>
        </p:spPr>
        <p:txBody>
          <a:bodyPr spcFirstLastPara="1" wrap="square" lIns="92075" tIns="46025" rIns="92075" bIns="46025" anchor="t" anchorCtr="0">
            <a:noAutofit/>
          </a:bodyPr>
          <a:lstStyle/>
          <a:p>
            <a:pPr marL="342900" indent="-279400">
              <a:spcBef>
                <a:spcPts val="0"/>
              </a:spcBef>
              <a:buSzPts val="1560"/>
            </a:pPr>
            <a:r>
              <a:rPr lang="en-US" sz="2200" b="0">
                <a:latin typeface="Times New Roman"/>
                <a:ea typeface="Times New Roman"/>
                <a:cs typeface="Times New Roman"/>
                <a:sym typeface="Times New Roman"/>
              </a:rPr>
              <a:t>There are more than 400 Birth Centers operating in 40 states and D. C., including surrounding states Michigan, Indiana, Missouri, Iowa, and Wisconsin</a:t>
            </a:r>
            <a:endParaRPr sz="2200"/>
          </a:p>
          <a:p>
            <a:pPr marL="342900" indent="-279400">
              <a:spcBef>
                <a:spcPts val="640"/>
              </a:spcBef>
              <a:buSzPts val="1560"/>
            </a:pPr>
            <a:r>
              <a:rPr lang="en-US" sz="2200" b="0">
                <a:latin typeface="Times New Roman"/>
                <a:ea typeface="Times New Roman"/>
                <a:cs typeface="Times New Roman"/>
                <a:sym typeface="Times New Roman"/>
              </a:rPr>
              <a:t>The number of midwifery-led birth centers has doubled in the last decade</a:t>
            </a:r>
            <a:endParaRPr sz="2200" b="0">
              <a:latin typeface="Times New Roman"/>
              <a:ea typeface="Times New Roman"/>
              <a:cs typeface="Times New Roman"/>
              <a:sym typeface="Times New Roman"/>
            </a:endParaRPr>
          </a:p>
          <a:p>
            <a:pPr marL="342900" indent="-279400">
              <a:spcBef>
                <a:spcPts val="640"/>
              </a:spcBef>
              <a:buSzPts val="1560"/>
            </a:pPr>
            <a:r>
              <a:rPr lang="en-US" sz="2200" b="0">
                <a:latin typeface="Times New Roman"/>
                <a:ea typeface="Times New Roman"/>
                <a:cs typeface="Times New Roman"/>
                <a:sym typeface="Times New Roman"/>
              </a:rPr>
              <a:t>Birth centers are located in inner city urban areas, rural, and suburban sites</a:t>
            </a:r>
            <a:endParaRPr sz="2200"/>
          </a:p>
        </p:txBody>
      </p:sp>
      <p:sp>
        <p:nvSpPr>
          <p:cNvPr id="150" name="Google Shape;150;p4"/>
          <p:cNvSpPr txBox="1"/>
          <p:nvPr/>
        </p:nvSpPr>
        <p:spPr>
          <a:xfrm>
            <a:off x="1524000" y="5334000"/>
            <a:ext cx="3200400" cy="304800"/>
          </a:xfrm>
          <a:prstGeom prst="rect">
            <a:avLst/>
          </a:prstGeom>
          <a:gradFill>
            <a:gsLst>
              <a:gs pos="0">
                <a:schemeClr val="hlink"/>
              </a:gs>
              <a:gs pos="100000">
                <a:srgbClr val="761800"/>
              </a:gs>
            </a:gsLst>
            <a:lin ang="0" scaled="0"/>
          </a:gradFill>
          <a:ln>
            <a:noFill/>
          </a:ln>
        </p:spPr>
        <p:txBody>
          <a:bodyPr spcFirstLastPara="1" wrap="square" lIns="46025" tIns="46025" rIns="46025" bIns="46025" anchor="ctr" anchorCtr="0">
            <a:noAutofit/>
          </a:bodyPr>
          <a:lstStyle/>
          <a:p>
            <a:pPr algn="r">
              <a:buClr>
                <a:srgbClr val="FFFFFF"/>
              </a:buClr>
              <a:buSzPts val="1600"/>
            </a:pPr>
            <a:r>
              <a:rPr lang="en-US" sz="1600" b="1" kern="0">
                <a:solidFill>
                  <a:srgbClr val="FFFFFF"/>
                </a:solidFill>
                <a:latin typeface="Arial"/>
                <a:ea typeface="Arial"/>
                <a:cs typeface="Arial"/>
                <a:sym typeface="Arial"/>
              </a:rPr>
              <a:t>FOR MORE INFO...</a:t>
            </a:r>
            <a:endParaRPr sz="1400" kern="0">
              <a:solidFill>
                <a:srgbClr val="000000"/>
              </a:solidFill>
              <a:latin typeface="Arial"/>
              <a:cs typeface="Arial"/>
              <a:sym typeface="Arial"/>
            </a:endParaRPr>
          </a:p>
        </p:txBody>
      </p:sp>
      <p:sp>
        <p:nvSpPr>
          <p:cNvPr id="151" name="Google Shape;151;p4"/>
          <p:cNvSpPr txBox="1"/>
          <p:nvPr/>
        </p:nvSpPr>
        <p:spPr>
          <a:xfrm>
            <a:off x="2209800" y="5638800"/>
            <a:ext cx="7772400" cy="914400"/>
          </a:xfrm>
          <a:prstGeom prst="rect">
            <a:avLst/>
          </a:prstGeom>
          <a:noFill/>
          <a:ln>
            <a:noFill/>
          </a:ln>
        </p:spPr>
        <p:txBody>
          <a:bodyPr spcFirstLastPara="1" wrap="square" lIns="92075" tIns="46025" rIns="92075" bIns="46025" anchor="t" anchorCtr="0">
            <a:noAutofit/>
          </a:bodyPr>
          <a:lstStyle/>
          <a:p>
            <a:pPr algn="ctr">
              <a:buClr>
                <a:srgbClr val="FFFFFF"/>
              </a:buClr>
              <a:buSzPts val="2000"/>
            </a:pPr>
            <a:r>
              <a:rPr lang="en-US" sz="2000" b="1" kern="0">
                <a:solidFill>
                  <a:srgbClr val="FFFFFF"/>
                </a:solidFill>
                <a:latin typeface="Times New Roman"/>
                <a:ea typeface="Times New Roman"/>
                <a:cs typeface="Times New Roman"/>
                <a:sym typeface="Times New Roman"/>
              </a:rPr>
              <a:t>American Association of Childbearing Centers (AABC)</a:t>
            </a:r>
            <a:endParaRPr sz="1400" kern="0">
              <a:solidFill>
                <a:srgbClr val="000000"/>
              </a:solidFill>
              <a:latin typeface="Arial"/>
              <a:cs typeface="Arial"/>
              <a:sym typeface="Arial"/>
            </a:endParaRPr>
          </a:p>
          <a:p>
            <a:pPr algn="ctr">
              <a:spcBef>
                <a:spcPts val="400"/>
              </a:spcBef>
              <a:buClr>
                <a:srgbClr val="FFFFFF"/>
              </a:buClr>
              <a:buSzPts val="2000"/>
            </a:pPr>
            <a:r>
              <a:rPr lang="en-US" sz="2000" b="1" kern="0">
                <a:solidFill>
                  <a:srgbClr val="FFFFFF"/>
                </a:solidFill>
                <a:latin typeface="Times New Roman"/>
                <a:ea typeface="Times New Roman"/>
                <a:cs typeface="Times New Roman"/>
                <a:sym typeface="Times New Roman"/>
              </a:rPr>
              <a:t>www.birthcenters.org</a:t>
            </a:r>
            <a:endParaRPr sz="1400" kern="0">
              <a:solidFill>
                <a:srgbClr val="000000"/>
              </a:solidFill>
              <a:latin typeface="Arial"/>
              <a:cs typeface="Arial"/>
              <a:sym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Project Overview">
  <a:themeElements>
    <a:clrScheme name="Project Overview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Project Overview">
  <a:themeElements>
    <a:clrScheme name="Project Overview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5D82736352DD4E802A1A76AFDD1F7F" ma:contentTypeVersion="15" ma:contentTypeDescription="Create a new document." ma:contentTypeScope="" ma:versionID="4d35f1768d87183a271803050690d622">
  <xsd:schema xmlns:xsd="http://www.w3.org/2001/XMLSchema" xmlns:xs="http://www.w3.org/2001/XMLSchema" xmlns:p="http://schemas.microsoft.com/office/2006/metadata/properties" xmlns:ns2="c76ad49b-f170-42df-90ed-c6fe8390a728" xmlns:ns3="ab42acc2-2b37-4904-bb86-4c18644d002b" targetNamespace="http://schemas.microsoft.com/office/2006/metadata/properties" ma:root="true" ma:fieldsID="260679124d21e5a6ec0b6f63b05ead91" ns2:_="" ns3:_="">
    <xsd:import namespace="c76ad49b-f170-42df-90ed-c6fe8390a728"/>
    <xsd:import namespace="ab42acc2-2b37-4904-bb86-4c18644d002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6ad49b-f170-42df-90ed-c6fe8390a7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60c9a04-0a06-4c47-89e2-9dbcedd85f4d"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description=""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b42acc2-2b37-4904-bb86-4c18644d002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TaxCatchAll" ma:index="16" nillable="true" ma:displayName="Taxonomy Catch All Column" ma:hidden="true" ma:list="{102e5c74-f441-4a5f-b2b1-393145c85dcf}" ma:internalName="TaxCatchAll" ma:showField="CatchAllData" ma:web="ab42acc2-2b37-4904-bb86-4c18644d00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b42acc2-2b37-4904-bb86-4c18644d002b" xsi:nil="true"/>
    <lcf76f155ced4ddcb4097134ff3c332f xmlns="c76ad49b-f170-42df-90ed-c6fe8390a72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C20D3A-B99C-405D-B0BD-1219F79256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6ad49b-f170-42df-90ed-c6fe8390a728"/>
    <ds:schemaRef ds:uri="ab42acc2-2b37-4904-bb86-4c18644d00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639D7BE-1A5D-4E06-95DB-0996259109FA}">
  <ds:schemaRefs>
    <ds:schemaRef ds:uri="http://schemas.microsoft.com/office/2006/metadata/properties"/>
    <ds:schemaRef ds:uri="http://schemas.microsoft.com/office/infopath/2007/PartnerControls"/>
    <ds:schemaRef ds:uri="ab42acc2-2b37-4904-bb86-4c18644d002b"/>
    <ds:schemaRef ds:uri="c76ad49b-f170-42df-90ed-c6fe8390a728"/>
  </ds:schemaRefs>
</ds:datastoreItem>
</file>

<file path=customXml/itemProps3.xml><?xml version="1.0" encoding="utf-8"?>
<ds:datastoreItem xmlns:ds="http://schemas.openxmlformats.org/officeDocument/2006/customXml" ds:itemID="{1565D08E-B482-4E43-A4DF-F4DD3D73DA2A}">
  <ds:schemaRefs>
    <ds:schemaRef ds:uri="http://schemas.microsoft.com/sharepoint/v3/contenttype/forms"/>
  </ds:schemaRefs>
</ds:datastoreItem>
</file>

<file path=docMetadata/LabelInfo.xml><?xml version="1.0" encoding="utf-8"?>
<clbl:labelList xmlns:clbl="http://schemas.microsoft.com/office/2020/mipLabelMetadata">
  <clbl:label id="{e202cd47-7a56-4baa-99e3-e3b71a7c77dd}" enabled="0" method="" siteId="{e202cd47-7a56-4baa-99e3-e3b71a7c77dd}" removed="1"/>
</clbl:labelList>
</file>

<file path=docProps/app.xml><?xml version="1.0" encoding="utf-8"?>
<Properties xmlns="http://schemas.openxmlformats.org/officeDocument/2006/extended-properties" xmlns:vt="http://schemas.openxmlformats.org/officeDocument/2006/docPropsVTypes">
  <Template>Office Theme</Template>
  <TotalTime>3739</TotalTime>
  <Words>2769</Words>
  <Application>Microsoft Office PowerPoint</Application>
  <PresentationFormat>Widescreen</PresentationFormat>
  <Paragraphs>427</Paragraphs>
  <Slides>56</Slides>
  <Notes>25</Notes>
  <HiddenSlides>2</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56</vt:i4>
      </vt:variant>
    </vt:vector>
  </HeadingPairs>
  <TitlesOfParts>
    <vt:vector size="79" baseType="lpstr">
      <vt:lpstr>Aptos</vt:lpstr>
      <vt:lpstr>Aptos Display</vt:lpstr>
      <vt:lpstr>Arial</vt:lpstr>
      <vt:lpstr>Calibri</vt:lpstr>
      <vt:lpstr>Century Gothic</vt:lpstr>
      <vt:lpstr>Georgia</vt:lpstr>
      <vt:lpstr>Noto Sans</vt:lpstr>
      <vt:lpstr>Noto Sans Symbols</vt:lpstr>
      <vt:lpstr>Oswald</vt:lpstr>
      <vt:lpstr>Palatino Linotype</vt:lpstr>
      <vt:lpstr>Symbol</vt:lpstr>
      <vt:lpstr>System Font Regular</vt:lpstr>
      <vt:lpstr>Tahoma</vt:lpstr>
      <vt:lpstr>Times New Roman</vt:lpstr>
      <vt:lpstr>Wingdings</vt:lpstr>
      <vt:lpstr>MGB_standard_template_082020</vt:lpstr>
      <vt:lpstr>Office Theme</vt:lpstr>
      <vt:lpstr>1_Office Theme</vt:lpstr>
      <vt:lpstr>2_Office Theme</vt:lpstr>
      <vt:lpstr>3_Office Theme</vt:lpstr>
      <vt:lpstr>1_Project Overview</vt:lpstr>
      <vt:lpstr>Project Overview</vt:lpstr>
      <vt:lpstr>think-cell Slide</vt:lpstr>
      <vt:lpstr>PowerPoint Presentation</vt:lpstr>
      <vt:lpstr>PowerPoint Presentation</vt:lpstr>
      <vt:lpstr>Introducing Our Guest Speakers:</vt:lpstr>
      <vt:lpstr>MOVING FORWARD: Making Progress for Birth Centers In Illinois </vt:lpstr>
      <vt:lpstr>BIRTH CENTER: AABC Definition</vt:lpstr>
      <vt:lpstr>BIRTH CENTER: ILLINOIS Definition</vt:lpstr>
      <vt:lpstr>BIRTH CENTERS</vt:lpstr>
      <vt:lpstr>HOSPITAL BIRTH CENTERS</vt:lpstr>
      <vt:lpstr>BIRTH CENTERS: FACTS</vt:lpstr>
      <vt:lpstr>BIRTH CENTERS: SAFETY</vt:lpstr>
      <vt:lpstr>BIRTH CENTERS           The         Illinois       Experience</vt:lpstr>
      <vt:lpstr>ILLINOIS BIRTH CENTER TASK FORCE</vt:lpstr>
      <vt:lpstr>BIRTH CENTERS IN ILLINOIS                                                                                                   Why Bother? </vt:lpstr>
      <vt:lpstr>THE ILLINOIS EXPERIENCE</vt:lpstr>
      <vt:lpstr>IllINOIS BIRTH CENTER TASK FORCE</vt:lpstr>
      <vt:lpstr>IllINOIS BIRTH CENTER TASK FORCE</vt:lpstr>
      <vt:lpstr>ILLINOIS’ FIRST BIRTH CENTER</vt:lpstr>
      <vt:lpstr>PowerPoint Presentation</vt:lpstr>
      <vt:lpstr>THE ILLINOIS EXPERIENCE:  BARRIERS</vt:lpstr>
      <vt:lpstr>IllINOIS BIRTH CENTER TASK FORCE</vt:lpstr>
      <vt:lpstr>EXISTING BIRTH CENTERS IN ILLINOIS                                                                                                 </vt:lpstr>
      <vt:lpstr>DEVELOPING BIRTH CENTERS IN ILLINOIS                                                                                                 </vt:lpstr>
      <vt:lpstr>THE ILLINOIS EXPERIENCE</vt:lpstr>
      <vt:lpstr>THE ILLINOIS EXPERIENCE: BARRIERS</vt:lpstr>
      <vt:lpstr>THE ILLINOIS EXPERIENCE: BARRIERS</vt:lpstr>
      <vt:lpstr>PowerPoint Presentation</vt:lpstr>
      <vt:lpstr>Chicago South Side Birth Center</vt:lpstr>
      <vt:lpstr>The Need &amp; The South Side</vt:lpstr>
      <vt:lpstr>Current OB Ecosystem on the South Side:</vt:lpstr>
      <vt:lpstr>Infant Mortality in the 10th ward</vt:lpstr>
      <vt:lpstr>What is a Birth Center?</vt:lpstr>
      <vt:lpstr>Midwife-led Birth Center Model of Care</vt:lpstr>
      <vt:lpstr>About Chicago South Side Birth Center</vt:lpstr>
      <vt:lpstr>Our Mission</vt:lpstr>
      <vt:lpstr>Our Future Home</vt:lpstr>
      <vt:lpstr>PowerPoint Presentation</vt:lpstr>
      <vt:lpstr>Thank you!</vt:lpstr>
      <vt:lpstr>BIRTH CENTERS THE VIABLE SOLUTION</vt:lpstr>
      <vt:lpstr>B I R T H</vt:lpstr>
      <vt:lpstr>S O M E</vt:lpstr>
      <vt:lpstr>The Problems</vt:lpstr>
      <vt:lpstr>OUTCOMES</vt:lpstr>
      <vt:lpstr>Our Global Standing</vt:lpstr>
      <vt:lpstr>MOD Report Card</vt:lpstr>
      <vt:lpstr>MOD Report Card</vt:lpstr>
      <vt:lpstr>Examples of Cost Variances</vt:lpstr>
      <vt:lpstr>MS-DRG Medicare Severity Diagnosis Related Groups</vt:lpstr>
      <vt:lpstr>Supporters</vt:lpstr>
      <vt:lpstr>Illinois Medicaid Reimbursements</vt:lpstr>
      <vt:lpstr>America Association of Birth Centers Efforts</vt:lpstr>
      <vt:lpstr>How to support Birth Centers</vt:lpstr>
      <vt:lpstr>Questions?</vt:lpstr>
      <vt:lpstr>Thank You, Announcements and Closing Remarks </vt:lpstr>
      <vt:lpstr>PowerPoint Presentation</vt:lpstr>
      <vt:lpstr>PowerPoint Presentation</vt:lpstr>
      <vt:lpstr>Clos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Schiff, Davida M.,MD</dc:creator>
  <cp:lastModifiedBy>Sayah, Lauren</cp:lastModifiedBy>
  <cp:revision>37</cp:revision>
  <dcterms:created xsi:type="dcterms:W3CDTF">2023-04-10T20:59:54Z</dcterms:created>
  <dcterms:modified xsi:type="dcterms:W3CDTF">2024-04-04T15:2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5D82736352DD4E802A1A76AFDD1F7F</vt:lpwstr>
  </property>
</Properties>
</file>